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charts/chart1.xml" ContentType="application/vnd.openxmlformats-officedocument.drawingml.chart+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charts/chart2.xml" ContentType="application/vnd.openxmlformats-officedocument.drawingml.chart+xml"/>
  <Override PartName="/ppt/tags/tag35.xml" ContentType="application/vnd.openxmlformats-officedocument.presentationml.tags+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bookmarkIdSeed="2">
  <p:sldMasterIdLst>
    <p:sldMasterId id="2147483766" r:id="rId1"/>
  </p:sldMasterIdLst>
  <p:notesMasterIdLst>
    <p:notesMasterId r:id="rId22"/>
  </p:notesMasterIdLst>
  <p:handoutMasterIdLst>
    <p:handoutMasterId r:id="rId23"/>
  </p:handoutMasterIdLst>
  <p:sldIdLst>
    <p:sldId id="278" r:id="rId2"/>
    <p:sldId id="484" r:id="rId3"/>
    <p:sldId id="403" r:id="rId4"/>
    <p:sldId id="399" r:id="rId5"/>
    <p:sldId id="494" r:id="rId6"/>
    <p:sldId id="618" r:id="rId7"/>
    <p:sldId id="502" r:id="rId8"/>
    <p:sldId id="498" r:id="rId9"/>
    <p:sldId id="496" r:id="rId10"/>
    <p:sldId id="497" r:id="rId11"/>
    <p:sldId id="495" r:id="rId12"/>
    <p:sldId id="499" r:id="rId13"/>
    <p:sldId id="493" r:id="rId14"/>
    <p:sldId id="501" r:id="rId15"/>
    <p:sldId id="410" r:id="rId16"/>
    <p:sldId id="500" r:id="rId17"/>
    <p:sldId id="505" r:id="rId18"/>
    <p:sldId id="413" r:id="rId19"/>
    <p:sldId id="485" r:id="rId20"/>
    <p:sldId id="426" r:id="rId21"/>
  </p:sldIdLst>
  <p:sldSz cx="9144000" cy="6858000" type="screen4x3"/>
  <p:notesSz cx="6858000" cy="9144000"/>
  <p:custShowLst>
    <p:custShow name="Custom Show 1" id="0">
      <p:sldLst>
        <p:sld r:id="rId2"/>
      </p:sldLst>
    </p:custShow>
  </p:custShowLst>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0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3" name="Author" initials="A" lastIdx="0" clrIdx="1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76B7"/>
    <a:srgbClr val="29475F"/>
    <a:srgbClr val="2D3E20"/>
    <a:srgbClr val="A24130"/>
    <a:srgbClr val="0070C0"/>
    <a:srgbClr val="AE7B00"/>
    <a:srgbClr val="B23F00"/>
    <a:srgbClr val="5A7D5C"/>
    <a:srgbClr val="3F582E"/>
    <a:srgbClr val="227E2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248C7E-5B4F-4D11-9379-C3CCEE5B67A0}" v="3332" dt="2018-11-08T20:13:12.26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7204" autoAdjust="0"/>
    <p:restoredTop sz="96203" autoAdjust="0"/>
  </p:normalViewPr>
  <p:slideViewPr>
    <p:cSldViewPr snapToGrid="0">
      <p:cViewPr varScale="1">
        <p:scale>
          <a:sx n="116" d="100"/>
          <a:sy n="116" d="100"/>
        </p:scale>
        <p:origin x="1416" y="108"/>
      </p:cViewPr>
      <p:guideLst>
        <p:guide orient="horz" pos="2160"/>
        <p:guide pos="204"/>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112"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viewProps" Target="viewProps.xml"/><Relationship Id="rId113"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w Sharp" userId="53f178df-da21-4936-8a93-86de9258956d" providerId="ADAL" clId="{0C248C7E-5B4F-4D11-9379-C3CCEE5B67A0}"/>
    <pc:docChg chg="undo redo custSel addSld delSld modSld sldOrd delSection modSection">
      <pc:chgData name="Andrew Sharp" userId="53f178df-da21-4936-8a93-86de9258956d" providerId="ADAL" clId="{0C248C7E-5B4F-4D11-9379-C3CCEE5B67A0}" dt="2018-11-12T18:07:34.437" v="42094" actId="20577"/>
      <pc:docMkLst>
        <pc:docMk/>
      </pc:docMkLst>
      <pc:sldChg chg="modSp ord">
        <pc:chgData name="Andrew Sharp" userId="53f178df-da21-4936-8a93-86de9258956d" providerId="ADAL" clId="{0C248C7E-5B4F-4D11-9379-C3CCEE5B67A0}" dt="2018-11-05T13:57:01.013" v="29985"/>
        <pc:sldMkLst>
          <pc:docMk/>
          <pc:sldMk cId="1496937962" sldId="265"/>
        </pc:sldMkLst>
        <pc:spChg chg="mod">
          <ac:chgData name="Andrew Sharp" userId="53f178df-da21-4936-8a93-86de9258956d" providerId="ADAL" clId="{0C248C7E-5B4F-4D11-9379-C3CCEE5B67A0}" dt="2018-10-26T12:45:08.695" v="21031" actId="20577"/>
          <ac:spMkLst>
            <pc:docMk/>
            <pc:sldMk cId="1496937962" sldId="265"/>
            <ac:spMk id="2" creationId="{00000000-0000-0000-0000-000000000000}"/>
          </ac:spMkLst>
        </pc:spChg>
      </pc:sldChg>
      <pc:sldChg chg="addSp delSp modSp">
        <pc:chgData name="Andrew Sharp" userId="53f178df-da21-4936-8a93-86de9258956d" providerId="ADAL" clId="{0C248C7E-5B4F-4D11-9379-C3CCEE5B67A0}" dt="2018-11-08T18:24:07.935" v="41026" actId="14100"/>
        <pc:sldMkLst>
          <pc:docMk/>
          <pc:sldMk cId="3022106382" sldId="279"/>
        </pc:sldMkLst>
        <pc:spChg chg="add del mod">
          <ac:chgData name="Andrew Sharp" userId="53f178df-da21-4936-8a93-86de9258956d" providerId="ADAL" clId="{0C248C7E-5B4F-4D11-9379-C3CCEE5B67A0}" dt="2018-11-05T13:53:00.091" v="29974" actId="478"/>
          <ac:spMkLst>
            <pc:docMk/>
            <pc:sldMk cId="3022106382" sldId="279"/>
            <ac:spMk id="4" creationId="{A975661B-AB07-49EB-AC7A-E0FA1EDD1CD0}"/>
          </ac:spMkLst>
        </pc:spChg>
        <pc:spChg chg="add del mod">
          <ac:chgData name="Andrew Sharp" userId="53f178df-da21-4936-8a93-86de9258956d" providerId="ADAL" clId="{0C248C7E-5B4F-4D11-9379-C3CCEE5B67A0}" dt="2018-11-05T13:52:58.604" v="29973" actId="478"/>
          <ac:spMkLst>
            <pc:docMk/>
            <pc:sldMk cId="3022106382" sldId="279"/>
            <ac:spMk id="7" creationId="{EB02A640-B435-4CAA-906A-7121EB8F59DA}"/>
          </ac:spMkLst>
        </pc:spChg>
        <pc:spChg chg="add del mod">
          <ac:chgData name="Andrew Sharp" userId="53f178df-da21-4936-8a93-86de9258956d" providerId="ADAL" clId="{0C248C7E-5B4F-4D11-9379-C3CCEE5B67A0}" dt="2018-11-05T13:52:57.814" v="29972" actId="478"/>
          <ac:spMkLst>
            <pc:docMk/>
            <pc:sldMk cId="3022106382" sldId="279"/>
            <ac:spMk id="8" creationId="{02ADEDFE-7787-4426-B61D-3CD775D85C23}"/>
          </ac:spMkLst>
        </pc:spChg>
        <pc:grpChg chg="add del mod">
          <ac:chgData name="Andrew Sharp" userId="53f178df-da21-4936-8a93-86de9258956d" providerId="ADAL" clId="{0C248C7E-5B4F-4D11-9379-C3CCEE5B67A0}" dt="2018-11-05T13:52:55.331" v="29971" actId="478"/>
          <ac:grpSpMkLst>
            <pc:docMk/>
            <pc:sldMk cId="3022106382" sldId="279"/>
            <ac:grpSpMk id="9" creationId="{70DBA699-6D9E-41B7-B9D7-9D894B8B8802}"/>
          </ac:grpSpMkLst>
        </pc:grpChg>
        <pc:graphicFrameChg chg="mod modGraphic">
          <ac:chgData name="Andrew Sharp" userId="53f178df-da21-4936-8a93-86de9258956d" providerId="ADAL" clId="{0C248C7E-5B4F-4D11-9379-C3CCEE5B67A0}" dt="2018-11-08T18:24:07.935" v="41026" actId="14100"/>
          <ac:graphicFrameMkLst>
            <pc:docMk/>
            <pc:sldMk cId="3022106382" sldId="279"/>
            <ac:graphicFrameMk id="6" creationId="{00000000-0000-0000-0000-000000000000}"/>
          </ac:graphicFrameMkLst>
        </pc:graphicFrameChg>
      </pc:sldChg>
      <pc:sldChg chg="ord">
        <pc:chgData name="Andrew Sharp" userId="53f178df-da21-4936-8a93-86de9258956d" providerId="ADAL" clId="{0C248C7E-5B4F-4D11-9379-C3CCEE5B67A0}" dt="2018-11-08T17:36:21.976" v="39901"/>
        <pc:sldMkLst>
          <pc:docMk/>
          <pc:sldMk cId="1262544476" sldId="392"/>
        </pc:sldMkLst>
      </pc:sldChg>
      <pc:sldChg chg="modSp ord">
        <pc:chgData name="Andrew Sharp" userId="53f178df-da21-4936-8a93-86de9258956d" providerId="ADAL" clId="{0C248C7E-5B4F-4D11-9379-C3CCEE5B67A0}" dt="2018-11-08T17:36:21.976" v="39901"/>
        <pc:sldMkLst>
          <pc:docMk/>
          <pc:sldMk cId="945193138" sldId="396"/>
        </pc:sldMkLst>
        <pc:spChg chg="mod">
          <ac:chgData name="Andrew Sharp" userId="53f178df-da21-4936-8a93-86de9258956d" providerId="ADAL" clId="{0C248C7E-5B4F-4D11-9379-C3CCEE5B67A0}" dt="2018-11-05T13:57:17.570" v="29999" actId="20577"/>
          <ac:spMkLst>
            <pc:docMk/>
            <pc:sldMk cId="945193138" sldId="396"/>
            <ac:spMk id="4" creationId="{00000000-0000-0000-0000-000000000000}"/>
          </ac:spMkLst>
        </pc:spChg>
      </pc:sldChg>
      <pc:sldChg chg="modSp addCm modCm">
        <pc:chgData name="Andrew Sharp" userId="53f178df-da21-4936-8a93-86de9258956d" providerId="ADAL" clId="{0C248C7E-5B4F-4D11-9379-C3CCEE5B67A0}" dt="2018-11-05T22:18:56.594" v="39586" actId="6549"/>
        <pc:sldMkLst>
          <pc:docMk/>
          <pc:sldMk cId="61988526" sldId="399"/>
        </pc:sldMkLst>
        <pc:spChg chg="mod">
          <ac:chgData name="Andrew Sharp" userId="53f178df-da21-4936-8a93-86de9258956d" providerId="ADAL" clId="{0C248C7E-5B4F-4D11-9379-C3CCEE5B67A0}" dt="2018-11-05T22:18:56.594" v="39586" actId="6549"/>
          <ac:spMkLst>
            <pc:docMk/>
            <pc:sldMk cId="61988526" sldId="399"/>
            <ac:spMk id="5" creationId="{00000000-0000-0000-0000-000000000000}"/>
          </ac:spMkLst>
        </pc:spChg>
      </pc:sldChg>
      <pc:sldChg chg="addSp delSp modSp ord">
        <pc:chgData name="Andrew Sharp" userId="53f178df-da21-4936-8a93-86de9258956d" providerId="ADAL" clId="{0C248C7E-5B4F-4D11-9379-C3CCEE5B67A0}" dt="2018-11-08T20:13:38.300" v="42032" actId="113"/>
        <pc:sldMkLst>
          <pc:docMk/>
          <pc:sldMk cId="1186764146" sldId="409"/>
        </pc:sldMkLst>
        <pc:spChg chg="del">
          <ac:chgData name="Andrew Sharp" userId="53f178df-da21-4936-8a93-86de9258956d" providerId="ADAL" clId="{0C248C7E-5B4F-4D11-9379-C3CCEE5B67A0}" dt="2018-11-05T21:42:00.806" v="39500" actId="478"/>
          <ac:spMkLst>
            <pc:docMk/>
            <pc:sldMk cId="1186764146" sldId="409"/>
            <ac:spMk id="3" creationId="{00000000-0000-0000-0000-000000000000}"/>
          </ac:spMkLst>
        </pc:spChg>
        <pc:spChg chg="add del">
          <ac:chgData name="Andrew Sharp" userId="53f178df-da21-4936-8a93-86de9258956d" providerId="ADAL" clId="{0C248C7E-5B4F-4D11-9379-C3CCEE5B67A0}" dt="2018-11-05T21:42:09.446" v="39502"/>
          <ac:spMkLst>
            <pc:docMk/>
            <pc:sldMk cId="1186764146" sldId="409"/>
            <ac:spMk id="4" creationId="{7620CE14-E043-4C0E-9C9F-0EE8626994A7}"/>
          </ac:spMkLst>
        </pc:spChg>
        <pc:spChg chg="add mod">
          <ac:chgData name="Andrew Sharp" userId="53f178df-da21-4936-8a93-86de9258956d" providerId="ADAL" clId="{0C248C7E-5B4F-4D11-9379-C3CCEE5B67A0}" dt="2018-11-08T20:13:38.300" v="42032" actId="113"/>
          <ac:spMkLst>
            <pc:docMk/>
            <pc:sldMk cId="1186764146" sldId="409"/>
            <ac:spMk id="5" creationId="{E7D30D52-F2BB-4232-B455-6D1B1186A661}"/>
          </ac:spMkLst>
        </pc:spChg>
        <pc:spChg chg="del">
          <ac:chgData name="Andrew Sharp" userId="53f178df-da21-4936-8a93-86de9258956d" providerId="ADAL" clId="{0C248C7E-5B4F-4D11-9379-C3CCEE5B67A0}" dt="2018-11-05T21:42:00.806" v="39500" actId="478"/>
          <ac:spMkLst>
            <pc:docMk/>
            <pc:sldMk cId="1186764146" sldId="409"/>
            <ac:spMk id="11" creationId="{00000000-0000-0000-0000-000000000000}"/>
          </ac:spMkLst>
        </pc:spChg>
        <pc:spChg chg="del">
          <ac:chgData name="Andrew Sharp" userId="53f178df-da21-4936-8a93-86de9258956d" providerId="ADAL" clId="{0C248C7E-5B4F-4D11-9379-C3CCEE5B67A0}" dt="2018-11-05T21:42:00.806" v="39500" actId="478"/>
          <ac:spMkLst>
            <pc:docMk/>
            <pc:sldMk cId="1186764146" sldId="409"/>
            <ac:spMk id="13" creationId="{00000000-0000-0000-0000-000000000000}"/>
          </ac:spMkLst>
        </pc:spChg>
        <pc:spChg chg="del">
          <ac:chgData name="Andrew Sharp" userId="53f178df-da21-4936-8a93-86de9258956d" providerId="ADAL" clId="{0C248C7E-5B4F-4D11-9379-C3CCEE5B67A0}" dt="2018-11-05T21:42:00.806" v="39500" actId="478"/>
          <ac:spMkLst>
            <pc:docMk/>
            <pc:sldMk cId="1186764146" sldId="409"/>
            <ac:spMk id="14" creationId="{00000000-0000-0000-0000-000000000000}"/>
          </ac:spMkLst>
        </pc:spChg>
        <pc:spChg chg="del">
          <ac:chgData name="Andrew Sharp" userId="53f178df-da21-4936-8a93-86de9258956d" providerId="ADAL" clId="{0C248C7E-5B4F-4D11-9379-C3CCEE5B67A0}" dt="2018-11-05T21:42:00.806" v="39500" actId="478"/>
          <ac:spMkLst>
            <pc:docMk/>
            <pc:sldMk cId="1186764146" sldId="409"/>
            <ac:spMk id="15" creationId="{00000000-0000-0000-0000-000000000000}"/>
          </ac:spMkLst>
        </pc:spChg>
        <pc:spChg chg="del">
          <ac:chgData name="Andrew Sharp" userId="53f178df-da21-4936-8a93-86de9258956d" providerId="ADAL" clId="{0C248C7E-5B4F-4D11-9379-C3CCEE5B67A0}" dt="2018-11-05T21:42:00.806" v="39500" actId="478"/>
          <ac:spMkLst>
            <pc:docMk/>
            <pc:sldMk cId="1186764146" sldId="409"/>
            <ac:spMk id="16" creationId="{00000000-0000-0000-0000-000000000000}"/>
          </ac:spMkLst>
        </pc:spChg>
        <pc:spChg chg="del">
          <ac:chgData name="Andrew Sharp" userId="53f178df-da21-4936-8a93-86de9258956d" providerId="ADAL" clId="{0C248C7E-5B4F-4D11-9379-C3CCEE5B67A0}" dt="2018-11-05T21:48:24.021" v="39581" actId="478"/>
          <ac:spMkLst>
            <pc:docMk/>
            <pc:sldMk cId="1186764146" sldId="409"/>
            <ac:spMk id="20" creationId="{00000000-0000-0000-0000-000000000000}"/>
          </ac:spMkLst>
        </pc:spChg>
        <pc:picChg chg="del">
          <ac:chgData name="Andrew Sharp" userId="53f178df-da21-4936-8a93-86de9258956d" providerId="ADAL" clId="{0C248C7E-5B4F-4D11-9379-C3CCEE5B67A0}" dt="2018-11-05T21:42:00.806" v="39500" actId="478"/>
          <ac:picMkLst>
            <pc:docMk/>
            <pc:sldMk cId="1186764146" sldId="409"/>
            <ac:picMk id="6" creationId="{00000000-0000-0000-0000-000000000000}"/>
          </ac:picMkLst>
        </pc:picChg>
        <pc:picChg chg="del">
          <ac:chgData name="Andrew Sharp" userId="53f178df-da21-4936-8a93-86de9258956d" providerId="ADAL" clId="{0C248C7E-5B4F-4D11-9379-C3CCEE5B67A0}" dt="2018-11-05T21:42:00.806" v="39500" actId="478"/>
          <ac:picMkLst>
            <pc:docMk/>
            <pc:sldMk cId="1186764146" sldId="409"/>
            <ac:picMk id="17" creationId="{00000000-0000-0000-0000-000000000000}"/>
          </ac:picMkLst>
        </pc:picChg>
        <pc:cxnChg chg="del">
          <ac:chgData name="Andrew Sharp" userId="53f178df-da21-4936-8a93-86de9258956d" providerId="ADAL" clId="{0C248C7E-5B4F-4D11-9379-C3CCEE5B67A0}" dt="2018-11-05T21:42:00.806" v="39500" actId="478"/>
          <ac:cxnSpMkLst>
            <pc:docMk/>
            <pc:sldMk cId="1186764146" sldId="409"/>
            <ac:cxnSpMk id="18" creationId="{00000000-0000-0000-0000-000000000000}"/>
          </ac:cxnSpMkLst>
        </pc:cxnChg>
        <pc:cxnChg chg="del">
          <ac:chgData name="Andrew Sharp" userId="53f178df-da21-4936-8a93-86de9258956d" providerId="ADAL" clId="{0C248C7E-5B4F-4D11-9379-C3CCEE5B67A0}" dt="2018-11-05T21:42:00.806" v="39500" actId="478"/>
          <ac:cxnSpMkLst>
            <pc:docMk/>
            <pc:sldMk cId="1186764146" sldId="409"/>
            <ac:cxnSpMk id="19" creationId="{00000000-0000-0000-0000-000000000000}"/>
          </ac:cxnSpMkLst>
        </pc:cxnChg>
      </pc:sldChg>
      <pc:sldChg chg="modSp addCm delCm">
        <pc:chgData name="Andrew Sharp" userId="53f178df-da21-4936-8a93-86de9258956d" providerId="ADAL" clId="{0C248C7E-5B4F-4D11-9379-C3CCEE5B67A0}" dt="2018-11-05T14:18:42.061" v="30441" actId="20577"/>
        <pc:sldMkLst>
          <pc:docMk/>
          <pc:sldMk cId="52918114" sldId="413"/>
        </pc:sldMkLst>
        <pc:spChg chg="mod">
          <ac:chgData name="Andrew Sharp" userId="53f178df-da21-4936-8a93-86de9258956d" providerId="ADAL" clId="{0C248C7E-5B4F-4D11-9379-C3CCEE5B67A0}" dt="2018-11-05T14:17:45.966" v="30394" actId="20577"/>
          <ac:spMkLst>
            <pc:docMk/>
            <pc:sldMk cId="52918114" sldId="413"/>
            <ac:spMk id="2" creationId="{00000000-0000-0000-0000-000000000000}"/>
          </ac:spMkLst>
        </pc:spChg>
        <pc:graphicFrameChg chg="mod modGraphic">
          <ac:chgData name="Andrew Sharp" userId="53f178df-da21-4936-8a93-86de9258956d" providerId="ADAL" clId="{0C248C7E-5B4F-4D11-9379-C3CCEE5B67A0}" dt="2018-11-05T14:18:42.061" v="30441" actId="20577"/>
          <ac:graphicFrameMkLst>
            <pc:docMk/>
            <pc:sldMk cId="52918114" sldId="413"/>
            <ac:graphicFrameMk id="6" creationId="{00000000-0000-0000-0000-000000000000}"/>
          </ac:graphicFrameMkLst>
        </pc:graphicFrameChg>
      </pc:sldChg>
      <pc:sldChg chg="modSp">
        <pc:chgData name="Andrew Sharp" userId="53f178df-da21-4936-8a93-86de9258956d" providerId="ADAL" clId="{0C248C7E-5B4F-4D11-9379-C3CCEE5B67A0}" dt="2018-10-22T19:28:31.306" v="9470"/>
        <pc:sldMkLst>
          <pc:docMk/>
          <pc:sldMk cId="631545245" sldId="480"/>
        </pc:sldMkLst>
        <pc:spChg chg="mod">
          <ac:chgData name="Andrew Sharp" userId="53f178df-da21-4936-8a93-86de9258956d" providerId="ADAL" clId="{0C248C7E-5B4F-4D11-9379-C3CCEE5B67A0}" dt="2018-10-22T19:28:31.306" v="9470"/>
          <ac:spMkLst>
            <pc:docMk/>
            <pc:sldMk cId="631545245" sldId="480"/>
            <ac:spMk id="2" creationId="{00000000-0000-0000-0000-000000000000}"/>
          </ac:spMkLst>
        </pc:spChg>
      </pc:sldChg>
      <pc:sldChg chg="addCm modCm">
        <pc:chgData name="Andrew Sharp" userId="53f178df-da21-4936-8a93-86de9258956d" providerId="ADAL" clId="{0C248C7E-5B4F-4D11-9379-C3CCEE5B67A0}" dt="2018-10-10T15:15:47.316" v="2340"/>
        <pc:sldMkLst>
          <pc:docMk/>
          <pc:sldMk cId="631466494" sldId="484"/>
        </pc:sldMkLst>
      </pc:sldChg>
      <pc:sldChg chg="modSp">
        <pc:chgData name="Andrew Sharp" userId="53f178df-da21-4936-8a93-86de9258956d" providerId="ADAL" clId="{0C248C7E-5B4F-4D11-9379-C3CCEE5B67A0}" dt="2018-10-22T19:27:40.105" v="9464" actId="20577"/>
        <pc:sldMkLst>
          <pc:docMk/>
          <pc:sldMk cId="1389267897" sldId="485"/>
        </pc:sldMkLst>
        <pc:spChg chg="mod">
          <ac:chgData name="Andrew Sharp" userId="53f178df-da21-4936-8a93-86de9258956d" providerId="ADAL" clId="{0C248C7E-5B4F-4D11-9379-C3CCEE5B67A0}" dt="2018-10-22T19:27:40.105" v="9464" actId="20577"/>
          <ac:spMkLst>
            <pc:docMk/>
            <pc:sldMk cId="1389267897" sldId="485"/>
            <ac:spMk id="2" creationId="{00000000-0000-0000-0000-000000000000}"/>
          </ac:spMkLst>
        </pc:spChg>
      </pc:sldChg>
      <pc:sldChg chg="modSp addCm delCm modCm">
        <pc:chgData name="Andrew Sharp" userId="53f178df-da21-4936-8a93-86de9258956d" providerId="ADAL" clId="{0C248C7E-5B4F-4D11-9379-C3CCEE5B67A0}" dt="2018-11-08T18:27:30.872" v="41069" actId="1592"/>
        <pc:sldMkLst>
          <pc:docMk/>
          <pc:sldMk cId="3309419580" sldId="495"/>
        </pc:sldMkLst>
        <pc:spChg chg="mod">
          <ac:chgData name="Andrew Sharp" userId="53f178df-da21-4936-8a93-86de9258956d" providerId="ADAL" clId="{0C248C7E-5B4F-4D11-9379-C3CCEE5B67A0}" dt="2018-10-10T15:30:18.318" v="2524" actId="1076"/>
          <ac:spMkLst>
            <pc:docMk/>
            <pc:sldMk cId="3309419580" sldId="495"/>
            <ac:spMk id="4" creationId="{00000000-0000-0000-0000-000000000000}"/>
          </ac:spMkLst>
        </pc:spChg>
      </pc:sldChg>
      <pc:sldChg chg="modSp addCm delCm modCm">
        <pc:chgData name="Andrew Sharp" userId="53f178df-da21-4936-8a93-86de9258956d" providerId="ADAL" clId="{0C248C7E-5B4F-4D11-9379-C3CCEE5B67A0}" dt="2018-11-08T18:27:00.216" v="41065"/>
        <pc:sldMkLst>
          <pc:docMk/>
          <pc:sldMk cId="1025324140" sldId="497"/>
        </pc:sldMkLst>
        <pc:spChg chg="mod">
          <ac:chgData name="Andrew Sharp" userId="53f178df-da21-4936-8a93-86de9258956d" providerId="ADAL" clId="{0C248C7E-5B4F-4D11-9379-C3CCEE5B67A0}" dt="2018-10-02T13:23:32.549" v="14" actId="20577"/>
          <ac:spMkLst>
            <pc:docMk/>
            <pc:sldMk cId="1025324140" sldId="497"/>
            <ac:spMk id="2" creationId="{00000000-0000-0000-0000-000000000000}"/>
          </ac:spMkLst>
        </pc:spChg>
        <pc:spChg chg="mod">
          <ac:chgData name="Andrew Sharp" userId="53f178df-da21-4936-8a93-86de9258956d" providerId="ADAL" clId="{0C248C7E-5B4F-4D11-9379-C3CCEE5B67A0}" dt="2018-10-10T15:09:49.569" v="2332" actId="20577"/>
          <ac:spMkLst>
            <pc:docMk/>
            <pc:sldMk cId="1025324140" sldId="497"/>
            <ac:spMk id="3" creationId="{00000000-0000-0000-0000-000000000000}"/>
          </ac:spMkLst>
        </pc:spChg>
        <pc:picChg chg="mod">
          <ac:chgData name="Andrew Sharp" userId="53f178df-da21-4936-8a93-86de9258956d" providerId="ADAL" clId="{0C248C7E-5B4F-4D11-9379-C3CCEE5B67A0}" dt="2018-11-08T18:26:34.496" v="41061" actId="14100"/>
          <ac:picMkLst>
            <pc:docMk/>
            <pc:sldMk cId="1025324140" sldId="497"/>
            <ac:picMk id="7" creationId="{00000000-0000-0000-0000-000000000000}"/>
          </ac:picMkLst>
        </pc:picChg>
      </pc:sldChg>
      <pc:sldChg chg="modSp addCm delCm modCm">
        <pc:chgData name="Andrew Sharp" userId="53f178df-da21-4936-8a93-86de9258956d" providerId="ADAL" clId="{0C248C7E-5B4F-4D11-9379-C3CCEE5B67A0}" dt="2018-11-02T17:51:52.302" v="26358" actId="1592"/>
        <pc:sldMkLst>
          <pc:docMk/>
          <pc:sldMk cId="435820253" sldId="499"/>
        </pc:sldMkLst>
        <pc:spChg chg="mod">
          <ac:chgData name="Andrew Sharp" userId="53f178df-da21-4936-8a93-86de9258956d" providerId="ADAL" clId="{0C248C7E-5B4F-4D11-9379-C3CCEE5B67A0}" dt="2018-10-10T15:32:36.682" v="2586" actId="1036"/>
          <ac:spMkLst>
            <pc:docMk/>
            <pc:sldMk cId="435820253" sldId="499"/>
            <ac:spMk id="2" creationId="{00000000-0000-0000-0000-000000000000}"/>
          </ac:spMkLst>
        </pc:spChg>
        <pc:spChg chg="mod">
          <ac:chgData name="Andrew Sharp" userId="53f178df-da21-4936-8a93-86de9258956d" providerId="ADAL" clId="{0C248C7E-5B4F-4D11-9379-C3CCEE5B67A0}" dt="2018-11-02T17:51:44.160" v="26357" actId="948"/>
          <ac:spMkLst>
            <pc:docMk/>
            <pc:sldMk cId="435820253" sldId="499"/>
            <ac:spMk id="3" creationId="{00000000-0000-0000-0000-000000000000}"/>
          </ac:spMkLst>
        </pc:spChg>
      </pc:sldChg>
      <pc:sldChg chg="addSp delSp modSp delCm">
        <pc:chgData name="Andrew Sharp" userId="53f178df-da21-4936-8a93-86de9258956d" providerId="ADAL" clId="{0C248C7E-5B4F-4D11-9379-C3CCEE5B67A0}" dt="2018-11-08T18:28:21.362" v="41070" actId="1592"/>
        <pc:sldMkLst>
          <pc:docMk/>
          <pc:sldMk cId="3933216914" sldId="500"/>
        </pc:sldMkLst>
        <pc:spChg chg="mod">
          <ac:chgData name="Andrew Sharp" userId="53f178df-da21-4936-8a93-86de9258956d" providerId="ADAL" clId="{0C248C7E-5B4F-4D11-9379-C3CCEE5B67A0}" dt="2018-10-22T19:26:31.978" v="9378" actId="14100"/>
          <ac:spMkLst>
            <pc:docMk/>
            <pc:sldMk cId="3933216914" sldId="500"/>
            <ac:spMk id="4" creationId="{00000000-0000-0000-0000-000000000000}"/>
          </ac:spMkLst>
        </pc:spChg>
        <pc:spChg chg="mod">
          <ac:chgData name="Andrew Sharp" userId="53f178df-da21-4936-8a93-86de9258956d" providerId="ADAL" clId="{0C248C7E-5B4F-4D11-9379-C3CCEE5B67A0}" dt="2018-10-25T14:10:56.894" v="20185" actId="1036"/>
          <ac:spMkLst>
            <pc:docMk/>
            <pc:sldMk cId="3933216914" sldId="500"/>
            <ac:spMk id="5" creationId="{00000000-0000-0000-0000-000000000000}"/>
          </ac:spMkLst>
        </pc:spChg>
        <pc:spChg chg="mod">
          <ac:chgData name="Andrew Sharp" userId="53f178df-da21-4936-8a93-86de9258956d" providerId="ADAL" clId="{0C248C7E-5B4F-4D11-9379-C3CCEE5B67A0}" dt="2018-10-25T14:00:41.682" v="19993" actId="14100"/>
          <ac:spMkLst>
            <pc:docMk/>
            <pc:sldMk cId="3933216914" sldId="500"/>
            <ac:spMk id="6" creationId="{00000000-0000-0000-0000-000000000000}"/>
          </ac:spMkLst>
        </pc:spChg>
        <pc:spChg chg="mod">
          <ac:chgData name="Andrew Sharp" userId="53f178df-da21-4936-8a93-86de9258956d" providerId="ADAL" clId="{0C248C7E-5B4F-4D11-9379-C3CCEE5B67A0}" dt="2018-10-25T14:10:50.577" v="20182" actId="164"/>
          <ac:spMkLst>
            <pc:docMk/>
            <pc:sldMk cId="3933216914" sldId="500"/>
            <ac:spMk id="7" creationId="{00000000-0000-0000-0000-000000000000}"/>
          </ac:spMkLst>
        </pc:spChg>
        <pc:spChg chg="mod">
          <ac:chgData name="Andrew Sharp" userId="53f178df-da21-4936-8a93-86de9258956d" providerId="ADAL" clId="{0C248C7E-5B4F-4D11-9379-C3CCEE5B67A0}" dt="2018-10-22T19:25:17.395" v="9348" actId="14100"/>
          <ac:spMkLst>
            <pc:docMk/>
            <pc:sldMk cId="3933216914" sldId="500"/>
            <ac:spMk id="8" creationId="{00000000-0000-0000-0000-000000000000}"/>
          </ac:spMkLst>
        </pc:spChg>
        <pc:spChg chg="mod">
          <ac:chgData name="Andrew Sharp" userId="53f178df-da21-4936-8a93-86de9258956d" providerId="ADAL" clId="{0C248C7E-5B4F-4D11-9379-C3CCEE5B67A0}" dt="2018-10-22T19:25:45.649" v="9369" actId="1076"/>
          <ac:spMkLst>
            <pc:docMk/>
            <pc:sldMk cId="3933216914" sldId="500"/>
            <ac:spMk id="9" creationId="{00000000-0000-0000-0000-000000000000}"/>
          </ac:spMkLst>
        </pc:spChg>
        <pc:spChg chg="mod">
          <ac:chgData name="Andrew Sharp" userId="53f178df-da21-4936-8a93-86de9258956d" providerId="ADAL" clId="{0C248C7E-5B4F-4D11-9379-C3CCEE5B67A0}" dt="2018-10-22T19:25:50.846" v="9370" actId="1076"/>
          <ac:spMkLst>
            <pc:docMk/>
            <pc:sldMk cId="3933216914" sldId="500"/>
            <ac:spMk id="10" creationId="{00000000-0000-0000-0000-000000000000}"/>
          </ac:spMkLst>
        </pc:spChg>
        <pc:spChg chg="mod">
          <ac:chgData name="Andrew Sharp" userId="53f178df-da21-4936-8a93-86de9258956d" providerId="ADAL" clId="{0C248C7E-5B4F-4D11-9379-C3CCEE5B67A0}" dt="2018-10-25T14:00:45.442" v="19994" actId="14100"/>
          <ac:spMkLst>
            <pc:docMk/>
            <pc:sldMk cId="3933216914" sldId="500"/>
            <ac:spMk id="11" creationId="{00000000-0000-0000-0000-000000000000}"/>
          </ac:spMkLst>
        </pc:spChg>
        <pc:spChg chg="mod">
          <ac:chgData name="Andrew Sharp" userId="53f178df-da21-4936-8a93-86de9258956d" providerId="ADAL" clId="{0C248C7E-5B4F-4D11-9379-C3CCEE5B67A0}" dt="2018-10-25T14:00:49.891" v="19995" actId="14100"/>
          <ac:spMkLst>
            <pc:docMk/>
            <pc:sldMk cId="3933216914" sldId="500"/>
            <ac:spMk id="12" creationId="{00000000-0000-0000-0000-000000000000}"/>
          </ac:spMkLst>
        </pc:spChg>
        <pc:spChg chg="del">
          <ac:chgData name="Andrew Sharp" userId="53f178df-da21-4936-8a93-86de9258956d" providerId="ADAL" clId="{0C248C7E-5B4F-4D11-9379-C3CCEE5B67A0}" dt="2018-10-10T15:45:53.057" v="2780" actId="478"/>
          <ac:spMkLst>
            <pc:docMk/>
            <pc:sldMk cId="3933216914" sldId="500"/>
            <ac:spMk id="13" creationId="{00000000-0000-0000-0000-000000000000}"/>
          </ac:spMkLst>
        </pc:spChg>
        <pc:grpChg chg="add mod">
          <ac:chgData name="Andrew Sharp" userId="53f178df-da21-4936-8a93-86de9258956d" providerId="ADAL" clId="{0C248C7E-5B4F-4D11-9379-C3CCEE5B67A0}" dt="2018-10-25T14:10:50.577" v="20182" actId="164"/>
          <ac:grpSpMkLst>
            <pc:docMk/>
            <pc:sldMk cId="3933216914" sldId="500"/>
            <ac:grpSpMk id="3" creationId="{906309EB-F02B-4455-A07A-3A283F5C9936}"/>
          </ac:grpSpMkLst>
        </pc:grpChg>
        <pc:grpChg chg="add mod">
          <ac:chgData name="Andrew Sharp" userId="53f178df-da21-4936-8a93-86de9258956d" providerId="ADAL" clId="{0C248C7E-5B4F-4D11-9379-C3CCEE5B67A0}" dt="2018-10-25T14:10:50.577" v="20182" actId="164"/>
          <ac:grpSpMkLst>
            <pc:docMk/>
            <pc:sldMk cId="3933216914" sldId="500"/>
            <ac:grpSpMk id="13" creationId="{1E9C8B36-F185-4BD7-8559-96A7AD7D67A0}"/>
          </ac:grpSpMkLst>
        </pc:grpChg>
        <pc:grpChg chg="add mod">
          <ac:chgData name="Andrew Sharp" userId="53f178df-da21-4936-8a93-86de9258956d" providerId="ADAL" clId="{0C248C7E-5B4F-4D11-9379-C3CCEE5B67A0}" dt="2018-10-25T14:10:50.577" v="20182" actId="164"/>
          <ac:grpSpMkLst>
            <pc:docMk/>
            <pc:sldMk cId="3933216914" sldId="500"/>
            <ac:grpSpMk id="14" creationId="{921D8748-6920-445F-ABB6-EB65E7D7824C}"/>
          </ac:grpSpMkLst>
        </pc:grpChg>
        <pc:grpChg chg="add mod">
          <ac:chgData name="Andrew Sharp" userId="53f178df-da21-4936-8a93-86de9258956d" providerId="ADAL" clId="{0C248C7E-5B4F-4D11-9379-C3CCEE5B67A0}" dt="2018-10-25T14:11:04.055" v="20198" actId="1036"/>
          <ac:grpSpMkLst>
            <pc:docMk/>
            <pc:sldMk cId="3933216914" sldId="500"/>
            <ac:grpSpMk id="15" creationId="{F3703BA0-0C96-4DC2-B1AE-1405A6284673}"/>
          </ac:grpSpMkLst>
        </pc:grpChg>
        <pc:picChg chg="del">
          <ac:chgData name="Andrew Sharp" userId="53f178df-da21-4936-8a93-86de9258956d" providerId="ADAL" clId="{0C248C7E-5B4F-4D11-9379-C3CCEE5B67A0}" dt="2018-10-10T15:45:56.047" v="2781" actId="478"/>
          <ac:picMkLst>
            <pc:docMk/>
            <pc:sldMk cId="3933216914" sldId="500"/>
            <ac:picMk id="3" creationId="{00000000-0000-0000-0000-000000000000}"/>
          </ac:picMkLst>
        </pc:picChg>
      </pc:sldChg>
      <pc:sldChg chg="addSp delSp modSp addCm delCm modCm">
        <pc:chgData name="Andrew Sharp" userId="53f178df-da21-4936-8a93-86de9258956d" providerId="ADAL" clId="{0C248C7E-5B4F-4D11-9379-C3CCEE5B67A0}" dt="2018-11-08T18:25:57.862" v="41060"/>
        <pc:sldMkLst>
          <pc:docMk/>
          <pc:sldMk cId="307396724" sldId="501"/>
        </pc:sldMkLst>
        <pc:spChg chg="mod">
          <ac:chgData name="Andrew Sharp" userId="53f178df-da21-4936-8a93-86de9258956d" providerId="ADAL" clId="{0C248C7E-5B4F-4D11-9379-C3CCEE5B67A0}" dt="2018-11-05T21:43:44.916" v="39516" actId="6549"/>
          <ac:spMkLst>
            <pc:docMk/>
            <pc:sldMk cId="307396724" sldId="501"/>
            <ac:spMk id="2" creationId="{00000000-0000-0000-0000-000000000000}"/>
          </ac:spMkLst>
        </pc:spChg>
        <pc:spChg chg="mod topLvl">
          <ac:chgData name="Andrew Sharp" userId="53f178df-da21-4936-8a93-86de9258956d" providerId="ADAL" clId="{0C248C7E-5B4F-4D11-9379-C3CCEE5B67A0}" dt="2018-10-25T14:07:00.542" v="20076" actId="165"/>
          <ac:spMkLst>
            <pc:docMk/>
            <pc:sldMk cId="307396724" sldId="501"/>
            <ac:spMk id="20" creationId="{00000000-0000-0000-0000-000000000000}"/>
          </ac:spMkLst>
        </pc:spChg>
        <pc:spChg chg="mod topLvl">
          <ac:chgData name="Andrew Sharp" userId="53f178df-da21-4936-8a93-86de9258956d" providerId="ADAL" clId="{0C248C7E-5B4F-4D11-9379-C3CCEE5B67A0}" dt="2018-10-25T14:07:00.542" v="20076" actId="165"/>
          <ac:spMkLst>
            <pc:docMk/>
            <pc:sldMk cId="307396724" sldId="501"/>
            <ac:spMk id="21" creationId="{00000000-0000-0000-0000-000000000000}"/>
          </ac:spMkLst>
        </pc:spChg>
        <pc:spChg chg="mod topLvl">
          <ac:chgData name="Andrew Sharp" userId="53f178df-da21-4936-8a93-86de9258956d" providerId="ADAL" clId="{0C248C7E-5B4F-4D11-9379-C3CCEE5B67A0}" dt="2018-10-25T14:07:00.542" v="20076" actId="165"/>
          <ac:spMkLst>
            <pc:docMk/>
            <pc:sldMk cId="307396724" sldId="501"/>
            <ac:spMk id="22" creationId="{00000000-0000-0000-0000-000000000000}"/>
          </ac:spMkLst>
        </pc:spChg>
        <pc:spChg chg="mod topLvl">
          <ac:chgData name="Andrew Sharp" userId="53f178df-da21-4936-8a93-86de9258956d" providerId="ADAL" clId="{0C248C7E-5B4F-4D11-9379-C3CCEE5B67A0}" dt="2018-10-25T14:07:00.542" v="20076" actId="165"/>
          <ac:spMkLst>
            <pc:docMk/>
            <pc:sldMk cId="307396724" sldId="501"/>
            <ac:spMk id="23" creationId="{00000000-0000-0000-0000-000000000000}"/>
          </ac:spMkLst>
        </pc:spChg>
        <pc:spChg chg="mod topLvl">
          <ac:chgData name="Andrew Sharp" userId="53f178df-da21-4936-8a93-86de9258956d" providerId="ADAL" clId="{0C248C7E-5B4F-4D11-9379-C3CCEE5B67A0}" dt="2018-10-25T14:07:00.542" v="20076" actId="165"/>
          <ac:spMkLst>
            <pc:docMk/>
            <pc:sldMk cId="307396724" sldId="501"/>
            <ac:spMk id="24" creationId="{00000000-0000-0000-0000-000000000000}"/>
          </ac:spMkLst>
        </pc:spChg>
        <pc:spChg chg="mod topLvl">
          <ac:chgData name="Andrew Sharp" userId="53f178df-da21-4936-8a93-86de9258956d" providerId="ADAL" clId="{0C248C7E-5B4F-4D11-9379-C3CCEE5B67A0}" dt="2018-10-25T14:09:07.971" v="20116" actId="1076"/>
          <ac:spMkLst>
            <pc:docMk/>
            <pc:sldMk cId="307396724" sldId="501"/>
            <ac:spMk id="25" creationId="{00000000-0000-0000-0000-000000000000}"/>
          </ac:spMkLst>
        </pc:spChg>
        <pc:spChg chg="mod topLvl">
          <ac:chgData name="Andrew Sharp" userId="53f178df-da21-4936-8a93-86de9258956d" providerId="ADAL" clId="{0C248C7E-5B4F-4D11-9379-C3CCEE5B67A0}" dt="2018-10-25T14:07:00.542" v="20076" actId="165"/>
          <ac:spMkLst>
            <pc:docMk/>
            <pc:sldMk cId="307396724" sldId="501"/>
            <ac:spMk id="26" creationId="{00000000-0000-0000-0000-000000000000}"/>
          </ac:spMkLst>
        </pc:spChg>
        <pc:spChg chg="mod topLvl">
          <ac:chgData name="Andrew Sharp" userId="53f178df-da21-4936-8a93-86de9258956d" providerId="ADAL" clId="{0C248C7E-5B4F-4D11-9379-C3CCEE5B67A0}" dt="2018-10-25T14:07:00.542" v="20076" actId="165"/>
          <ac:spMkLst>
            <pc:docMk/>
            <pc:sldMk cId="307396724" sldId="501"/>
            <ac:spMk id="27" creationId="{00000000-0000-0000-0000-000000000000}"/>
          </ac:spMkLst>
        </pc:spChg>
        <pc:spChg chg="mod topLvl">
          <ac:chgData name="Andrew Sharp" userId="53f178df-da21-4936-8a93-86de9258956d" providerId="ADAL" clId="{0C248C7E-5B4F-4D11-9379-C3CCEE5B67A0}" dt="2018-10-25T14:07:00.542" v="20076" actId="165"/>
          <ac:spMkLst>
            <pc:docMk/>
            <pc:sldMk cId="307396724" sldId="501"/>
            <ac:spMk id="29" creationId="{00000000-0000-0000-0000-000000000000}"/>
          </ac:spMkLst>
        </pc:spChg>
        <pc:spChg chg="mod topLvl">
          <ac:chgData name="Andrew Sharp" userId="53f178df-da21-4936-8a93-86de9258956d" providerId="ADAL" clId="{0C248C7E-5B4F-4D11-9379-C3CCEE5B67A0}" dt="2018-10-25T14:07:00.542" v="20076" actId="165"/>
          <ac:spMkLst>
            <pc:docMk/>
            <pc:sldMk cId="307396724" sldId="501"/>
            <ac:spMk id="30" creationId="{00000000-0000-0000-0000-000000000000}"/>
          </ac:spMkLst>
        </pc:spChg>
        <pc:spChg chg="mod topLvl">
          <ac:chgData name="Andrew Sharp" userId="53f178df-da21-4936-8a93-86de9258956d" providerId="ADAL" clId="{0C248C7E-5B4F-4D11-9379-C3CCEE5B67A0}" dt="2018-10-25T14:07:00.542" v="20076" actId="165"/>
          <ac:spMkLst>
            <pc:docMk/>
            <pc:sldMk cId="307396724" sldId="501"/>
            <ac:spMk id="31" creationId="{00000000-0000-0000-0000-000000000000}"/>
          </ac:spMkLst>
        </pc:spChg>
        <pc:spChg chg="mod topLvl">
          <ac:chgData name="Andrew Sharp" userId="53f178df-da21-4936-8a93-86de9258956d" providerId="ADAL" clId="{0C248C7E-5B4F-4D11-9379-C3CCEE5B67A0}" dt="2018-10-25T14:07:00.542" v="20076" actId="165"/>
          <ac:spMkLst>
            <pc:docMk/>
            <pc:sldMk cId="307396724" sldId="501"/>
            <ac:spMk id="32" creationId="{00000000-0000-0000-0000-000000000000}"/>
          </ac:spMkLst>
        </pc:spChg>
        <pc:spChg chg="mod topLvl">
          <ac:chgData name="Andrew Sharp" userId="53f178df-da21-4936-8a93-86de9258956d" providerId="ADAL" clId="{0C248C7E-5B4F-4D11-9379-C3CCEE5B67A0}" dt="2018-10-25T14:07:00.542" v="20076" actId="165"/>
          <ac:spMkLst>
            <pc:docMk/>
            <pc:sldMk cId="307396724" sldId="501"/>
            <ac:spMk id="33" creationId="{00000000-0000-0000-0000-000000000000}"/>
          </ac:spMkLst>
        </pc:spChg>
        <pc:spChg chg="mod topLvl">
          <ac:chgData name="Andrew Sharp" userId="53f178df-da21-4936-8a93-86de9258956d" providerId="ADAL" clId="{0C248C7E-5B4F-4D11-9379-C3CCEE5B67A0}" dt="2018-10-25T14:07:00.542" v="20076" actId="165"/>
          <ac:spMkLst>
            <pc:docMk/>
            <pc:sldMk cId="307396724" sldId="501"/>
            <ac:spMk id="34" creationId="{00000000-0000-0000-0000-000000000000}"/>
          </ac:spMkLst>
        </pc:spChg>
        <pc:spChg chg="mod topLvl">
          <ac:chgData name="Andrew Sharp" userId="53f178df-da21-4936-8a93-86de9258956d" providerId="ADAL" clId="{0C248C7E-5B4F-4D11-9379-C3CCEE5B67A0}" dt="2018-10-25T14:07:00.542" v="20076" actId="165"/>
          <ac:spMkLst>
            <pc:docMk/>
            <pc:sldMk cId="307396724" sldId="501"/>
            <ac:spMk id="35" creationId="{00000000-0000-0000-0000-000000000000}"/>
          </ac:spMkLst>
        </pc:spChg>
        <pc:spChg chg="mod topLvl">
          <ac:chgData name="Andrew Sharp" userId="53f178df-da21-4936-8a93-86de9258956d" providerId="ADAL" clId="{0C248C7E-5B4F-4D11-9379-C3CCEE5B67A0}" dt="2018-11-06T18:26:27.154" v="39594" actId="20577"/>
          <ac:spMkLst>
            <pc:docMk/>
            <pc:sldMk cId="307396724" sldId="501"/>
            <ac:spMk id="37" creationId="{00000000-0000-0000-0000-000000000000}"/>
          </ac:spMkLst>
        </pc:spChg>
        <pc:spChg chg="mod topLvl">
          <ac:chgData name="Andrew Sharp" userId="53f178df-da21-4936-8a93-86de9258956d" providerId="ADAL" clId="{0C248C7E-5B4F-4D11-9379-C3CCEE5B67A0}" dt="2018-10-25T14:07:00.542" v="20076" actId="165"/>
          <ac:spMkLst>
            <pc:docMk/>
            <pc:sldMk cId="307396724" sldId="501"/>
            <ac:spMk id="38" creationId="{00000000-0000-0000-0000-000000000000}"/>
          </ac:spMkLst>
        </pc:spChg>
        <pc:spChg chg="mod topLvl">
          <ac:chgData name="Andrew Sharp" userId="53f178df-da21-4936-8a93-86de9258956d" providerId="ADAL" clId="{0C248C7E-5B4F-4D11-9379-C3CCEE5B67A0}" dt="2018-10-25T14:07:00.542" v="20076" actId="165"/>
          <ac:spMkLst>
            <pc:docMk/>
            <pc:sldMk cId="307396724" sldId="501"/>
            <ac:spMk id="39" creationId="{00000000-0000-0000-0000-000000000000}"/>
          </ac:spMkLst>
        </pc:spChg>
        <pc:spChg chg="mod topLvl">
          <ac:chgData name="Andrew Sharp" userId="53f178df-da21-4936-8a93-86de9258956d" providerId="ADAL" clId="{0C248C7E-5B4F-4D11-9379-C3CCEE5B67A0}" dt="2018-10-25T14:07:00.542" v="20076" actId="165"/>
          <ac:spMkLst>
            <pc:docMk/>
            <pc:sldMk cId="307396724" sldId="501"/>
            <ac:spMk id="40" creationId="{00000000-0000-0000-0000-000000000000}"/>
          </ac:spMkLst>
        </pc:spChg>
        <pc:spChg chg="mod topLvl">
          <ac:chgData name="Andrew Sharp" userId="53f178df-da21-4936-8a93-86de9258956d" providerId="ADAL" clId="{0C248C7E-5B4F-4D11-9379-C3CCEE5B67A0}" dt="2018-10-25T14:07:00.542" v="20076" actId="165"/>
          <ac:spMkLst>
            <pc:docMk/>
            <pc:sldMk cId="307396724" sldId="501"/>
            <ac:spMk id="41" creationId="{00000000-0000-0000-0000-000000000000}"/>
          </ac:spMkLst>
        </pc:spChg>
        <pc:spChg chg="mod topLvl">
          <ac:chgData name="Andrew Sharp" userId="53f178df-da21-4936-8a93-86de9258956d" providerId="ADAL" clId="{0C248C7E-5B4F-4D11-9379-C3CCEE5B67A0}" dt="2018-10-25T14:07:00.542" v="20076" actId="165"/>
          <ac:spMkLst>
            <pc:docMk/>
            <pc:sldMk cId="307396724" sldId="501"/>
            <ac:spMk id="42" creationId="{00000000-0000-0000-0000-000000000000}"/>
          </ac:spMkLst>
        </pc:spChg>
        <pc:spChg chg="mod topLvl">
          <ac:chgData name="Andrew Sharp" userId="53f178df-da21-4936-8a93-86de9258956d" providerId="ADAL" clId="{0C248C7E-5B4F-4D11-9379-C3CCEE5B67A0}" dt="2018-11-03T15:42:11.914" v="27745" actId="20577"/>
          <ac:spMkLst>
            <pc:docMk/>
            <pc:sldMk cId="307396724" sldId="501"/>
            <ac:spMk id="43" creationId="{00000000-0000-0000-0000-000000000000}"/>
          </ac:spMkLst>
        </pc:spChg>
        <pc:spChg chg="mod topLvl">
          <ac:chgData name="Andrew Sharp" userId="53f178df-da21-4936-8a93-86de9258956d" providerId="ADAL" clId="{0C248C7E-5B4F-4D11-9379-C3CCEE5B67A0}" dt="2018-11-02T21:15:38.729" v="26681" actId="20577"/>
          <ac:spMkLst>
            <pc:docMk/>
            <pc:sldMk cId="307396724" sldId="501"/>
            <ac:spMk id="45" creationId="{00000000-0000-0000-0000-000000000000}"/>
          </ac:spMkLst>
        </pc:spChg>
        <pc:spChg chg="del">
          <ac:chgData name="Andrew Sharp" userId="53f178df-da21-4936-8a93-86de9258956d" providerId="ADAL" clId="{0C248C7E-5B4F-4D11-9379-C3CCEE5B67A0}" dt="2018-10-02T15:15:36.579" v="17" actId="478"/>
          <ac:spMkLst>
            <pc:docMk/>
            <pc:sldMk cId="307396724" sldId="501"/>
            <ac:spMk id="47" creationId="{00000000-0000-0000-0000-000000000000}"/>
          </ac:spMkLst>
        </pc:spChg>
        <pc:spChg chg="del">
          <ac:chgData name="Andrew Sharp" userId="53f178df-da21-4936-8a93-86de9258956d" providerId="ADAL" clId="{0C248C7E-5B4F-4D11-9379-C3CCEE5B67A0}" dt="2018-10-02T15:15:41.222" v="19" actId="478"/>
          <ac:spMkLst>
            <pc:docMk/>
            <pc:sldMk cId="307396724" sldId="501"/>
            <ac:spMk id="49" creationId="{00000000-0000-0000-0000-000000000000}"/>
          </ac:spMkLst>
        </pc:spChg>
        <pc:spChg chg="add mod">
          <ac:chgData name="Andrew Sharp" userId="53f178df-da21-4936-8a93-86de9258956d" providerId="ADAL" clId="{0C248C7E-5B4F-4D11-9379-C3CCEE5B67A0}" dt="2018-11-08T18:25:31.719" v="41057" actId="14100"/>
          <ac:spMkLst>
            <pc:docMk/>
            <pc:sldMk cId="307396724" sldId="501"/>
            <ac:spMk id="51" creationId="{EEA374C4-DADA-4F42-AF34-96E65B0EA34D}"/>
          </ac:spMkLst>
        </pc:spChg>
        <pc:spChg chg="mod topLvl">
          <ac:chgData name="Andrew Sharp" userId="53f178df-da21-4936-8a93-86de9258956d" providerId="ADAL" clId="{0C248C7E-5B4F-4D11-9379-C3CCEE5B67A0}" dt="2018-10-25T14:08:23.147" v="20094" actId="14100"/>
          <ac:spMkLst>
            <pc:docMk/>
            <pc:sldMk cId="307396724" sldId="501"/>
            <ac:spMk id="52" creationId="{00000000-0000-0000-0000-000000000000}"/>
          </ac:spMkLst>
        </pc:spChg>
        <pc:spChg chg="mod topLvl">
          <ac:chgData name="Andrew Sharp" userId="53f178df-da21-4936-8a93-86de9258956d" providerId="ADAL" clId="{0C248C7E-5B4F-4D11-9379-C3CCEE5B67A0}" dt="2018-11-05T13:59:26.153" v="30045" actId="1035"/>
          <ac:spMkLst>
            <pc:docMk/>
            <pc:sldMk cId="307396724" sldId="501"/>
            <ac:spMk id="53" creationId="{00000000-0000-0000-0000-000000000000}"/>
          </ac:spMkLst>
        </pc:spChg>
        <pc:spChg chg="mod topLvl">
          <ac:chgData name="Andrew Sharp" userId="53f178df-da21-4936-8a93-86de9258956d" providerId="ADAL" clId="{0C248C7E-5B4F-4D11-9379-C3CCEE5B67A0}" dt="2018-11-06T19:37:46.579" v="39618" actId="20577"/>
          <ac:spMkLst>
            <pc:docMk/>
            <pc:sldMk cId="307396724" sldId="501"/>
            <ac:spMk id="54" creationId="{00000000-0000-0000-0000-000000000000}"/>
          </ac:spMkLst>
        </pc:spChg>
        <pc:spChg chg="del mod topLvl">
          <ac:chgData name="Andrew Sharp" userId="53f178df-da21-4936-8a93-86de9258956d" providerId="ADAL" clId="{0C248C7E-5B4F-4D11-9379-C3CCEE5B67A0}" dt="2018-11-06T18:55:15.792" v="39599" actId="478"/>
          <ac:spMkLst>
            <pc:docMk/>
            <pc:sldMk cId="307396724" sldId="501"/>
            <ac:spMk id="55" creationId="{00000000-0000-0000-0000-000000000000}"/>
          </ac:spMkLst>
        </pc:spChg>
        <pc:spChg chg="mod topLvl">
          <ac:chgData name="Andrew Sharp" userId="53f178df-da21-4936-8a93-86de9258956d" providerId="ADAL" clId="{0C248C7E-5B4F-4D11-9379-C3CCEE5B67A0}" dt="2018-11-03T15:53:18.568" v="28045" actId="20577"/>
          <ac:spMkLst>
            <pc:docMk/>
            <pc:sldMk cId="307396724" sldId="501"/>
            <ac:spMk id="56" creationId="{00000000-0000-0000-0000-000000000000}"/>
          </ac:spMkLst>
        </pc:spChg>
        <pc:spChg chg="add mod">
          <ac:chgData name="Andrew Sharp" userId="53f178df-da21-4936-8a93-86de9258956d" providerId="ADAL" clId="{0C248C7E-5B4F-4D11-9379-C3CCEE5B67A0}" dt="2018-11-05T14:00:11.309" v="30076" actId="20577"/>
          <ac:spMkLst>
            <pc:docMk/>
            <pc:sldMk cId="307396724" sldId="501"/>
            <ac:spMk id="57" creationId="{15E1B816-CD4F-48FB-A283-5DE21F2D79E3}"/>
          </ac:spMkLst>
        </pc:spChg>
        <pc:spChg chg="add del mod">
          <ac:chgData name="Andrew Sharp" userId="53f178df-da21-4936-8a93-86de9258956d" providerId="ADAL" clId="{0C248C7E-5B4F-4D11-9379-C3CCEE5B67A0}" dt="2018-10-25T14:03:22.029" v="20024" actId="478"/>
          <ac:spMkLst>
            <pc:docMk/>
            <pc:sldMk cId="307396724" sldId="501"/>
            <ac:spMk id="57" creationId="{FAF15E9A-4B82-48CE-A5C4-9C195499FFED}"/>
          </ac:spMkLst>
        </pc:spChg>
        <pc:spChg chg="mod topLvl">
          <ac:chgData name="Andrew Sharp" userId="53f178df-da21-4936-8a93-86de9258956d" providerId="ADAL" clId="{0C248C7E-5B4F-4D11-9379-C3CCEE5B67A0}" dt="2018-10-25T14:07:00.542" v="20076" actId="165"/>
          <ac:spMkLst>
            <pc:docMk/>
            <pc:sldMk cId="307396724" sldId="501"/>
            <ac:spMk id="58" creationId="{00000000-0000-0000-0000-000000000000}"/>
          </ac:spMkLst>
        </pc:spChg>
        <pc:spChg chg="mod topLvl">
          <ac:chgData name="Andrew Sharp" userId="53f178df-da21-4936-8a93-86de9258956d" providerId="ADAL" clId="{0C248C7E-5B4F-4D11-9379-C3CCEE5B67A0}" dt="2018-11-06T18:44:23.237" v="39598" actId="20577"/>
          <ac:spMkLst>
            <pc:docMk/>
            <pc:sldMk cId="307396724" sldId="501"/>
            <ac:spMk id="59" creationId="{00000000-0000-0000-0000-000000000000}"/>
          </ac:spMkLst>
        </pc:spChg>
        <pc:spChg chg="del mod topLvl">
          <ac:chgData name="Andrew Sharp" userId="53f178df-da21-4936-8a93-86de9258956d" providerId="ADAL" clId="{0C248C7E-5B4F-4D11-9379-C3CCEE5B67A0}" dt="2018-11-06T18:55:15.792" v="39599" actId="478"/>
          <ac:spMkLst>
            <pc:docMk/>
            <pc:sldMk cId="307396724" sldId="501"/>
            <ac:spMk id="60" creationId="{00000000-0000-0000-0000-000000000000}"/>
          </ac:spMkLst>
        </pc:spChg>
        <pc:spChg chg="del">
          <ac:chgData name="Andrew Sharp" userId="53f178df-da21-4936-8a93-86de9258956d" providerId="ADAL" clId="{0C248C7E-5B4F-4D11-9379-C3CCEE5B67A0}" dt="2018-10-02T15:17:21.629" v="118" actId="478"/>
          <ac:spMkLst>
            <pc:docMk/>
            <pc:sldMk cId="307396724" sldId="501"/>
            <ac:spMk id="61" creationId="{00000000-0000-0000-0000-000000000000}"/>
          </ac:spMkLst>
        </pc:spChg>
        <pc:spChg chg="add del mod">
          <ac:chgData name="Andrew Sharp" userId="53f178df-da21-4936-8a93-86de9258956d" providerId="ADAL" clId="{0C248C7E-5B4F-4D11-9379-C3CCEE5B67A0}" dt="2018-10-24T20:39:13.083" v="15433" actId="478"/>
          <ac:spMkLst>
            <pc:docMk/>
            <pc:sldMk cId="307396724" sldId="501"/>
            <ac:spMk id="61" creationId="{E07C2DD5-BF08-402C-A661-AE837227EB87}"/>
          </ac:spMkLst>
        </pc:spChg>
        <pc:spChg chg="del mod">
          <ac:chgData name="Andrew Sharp" userId="53f178df-da21-4936-8a93-86de9258956d" providerId="ADAL" clId="{0C248C7E-5B4F-4D11-9379-C3CCEE5B67A0}" dt="2018-10-25T14:02:06.951" v="19996" actId="478"/>
          <ac:spMkLst>
            <pc:docMk/>
            <pc:sldMk cId="307396724" sldId="501"/>
            <ac:spMk id="62" creationId="{00000000-0000-0000-0000-000000000000}"/>
          </ac:spMkLst>
        </pc:spChg>
        <pc:spChg chg="add del mod">
          <ac:chgData name="Andrew Sharp" userId="53f178df-da21-4936-8a93-86de9258956d" providerId="ADAL" clId="{0C248C7E-5B4F-4D11-9379-C3CCEE5B67A0}" dt="2018-10-24T20:39:09.737" v="15432" actId="478"/>
          <ac:spMkLst>
            <pc:docMk/>
            <pc:sldMk cId="307396724" sldId="501"/>
            <ac:spMk id="63" creationId="{DCB2ADB5-C582-4E8B-84ED-F041ACB7D9A5}"/>
          </ac:spMkLst>
        </pc:spChg>
        <pc:spChg chg="add del mod">
          <ac:chgData name="Andrew Sharp" userId="53f178df-da21-4936-8a93-86de9258956d" providerId="ADAL" clId="{0C248C7E-5B4F-4D11-9379-C3CCEE5B67A0}" dt="2018-10-24T20:39:08.577" v="15431" actId="478"/>
          <ac:spMkLst>
            <pc:docMk/>
            <pc:sldMk cId="307396724" sldId="501"/>
            <ac:spMk id="64" creationId="{EF915AE7-5FCB-4780-BB4D-E07774A1647D}"/>
          </ac:spMkLst>
        </pc:spChg>
        <pc:spChg chg="add mod">
          <ac:chgData name="Andrew Sharp" userId="53f178df-da21-4936-8a93-86de9258956d" providerId="ADAL" clId="{0C248C7E-5B4F-4D11-9379-C3CCEE5B67A0}" dt="2018-11-02T17:46:00.773" v="26353" actId="14100"/>
          <ac:spMkLst>
            <pc:docMk/>
            <pc:sldMk cId="307396724" sldId="501"/>
            <ac:spMk id="65" creationId="{770157B1-9B85-4DC4-84D9-3FD3D8943539}"/>
          </ac:spMkLst>
        </pc:spChg>
        <pc:spChg chg="add mod">
          <ac:chgData name="Andrew Sharp" userId="53f178df-da21-4936-8a93-86de9258956d" providerId="ADAL" clId="{0C248C7E-5B4F-4D11-9379-C3CCEE5B67A0}" dt="2018-11-03T15:31:22.288" v="27165" actId="164"/>
          <ac:spMkLst>
            <pc:docMk/>
            <pc:sldMk cId="307396724" sldId="501"/>
            <ac:spMk id="70" creationId="{7A883553-3F12-46E0-8080-EBED024D734B}"/>
          </ac:spMkLst>
        </pc:spChg>
        <pc:spChg chg="add mod">
          <ac:chgData name="Andrew Sharp" userId="53f178df-da21-4936-8a93-86de9258956d" providerId="ADAL" clId="{0C248C7E-5B4F-4D11-9379-C3CCEE5B67A0}" dt="2018-11-03T15:31:22.288" v="27165" actId="164"/>
          <ac:spMkLst>
            <pc:docMk/>
            <pc:sldMk cId="307396724" sldId="501"/>
            <ac:spMk id="71" creationId="{370DD61B-BCCC-4A18-B125-184B1B8575E7}"/>
          </ac:spMkLst>
        </pc:spChg>
        <pc:spChg chg="add mod">
          <ac:chgData name="Andrew Sharp" userId="53f178df-da21-4936-8a93-86de9258956d" providerId="ADAL" clId="{0C248C7E-5B4F-4D11-9379-C3CCEE5B67A0}" dt="2018-11-03T15:31:22.288" v="27165" actId="164"/>
          <ac:spMkLst>
            <pc:docMk/>
            <pc:sldMk cId="307396724" sldId="501"/>
            <ac:spMk id="72" creationId="{8D9C5460-D6BA-40E1-AD24-F1EC1A945588}"/>
          </ac:spMkLst>
        </pc:spChg>
        <pc:spChg chg="add mod">
          <ac:chgData name="Andrew Sharp" userId="53f178df-da21-4936-8a93-86de9258956d" providerId="ADAL" clId="{0C248C7E-5B4F-4D11-9379-C3CCEE5B67A0}" dt="2018-11-03T15:31:22.288" v="27165" actId="164"/>
          <ac:spMkLst>
            <pc:docMk/>
            <pc:sldMk cId="307396724" sldId="501"/>
            <ac:spMk id="73" creationId="{98F616AC-64F8-41E2-813F-569F659B8866}"/>
          </ac:spMkLst>
        </pc:spChg>
        <pc:spChg chg="add mod">
          <ac:chgData name="Andrew Sharp" userId="53f178df-da21-4936-8a93-86de9258956d" providerId="ADAL" clId="{0C248C7E-5B4F-4D11-9379-C3CCEE5B67A0}" dt="2018-11-03T15:31:22.288" v="27165" actId="164"/>
          <ac:spMkLst>
            <pc:docMk/>
            <pc:sldMk cId="307396724" sldId="501"/>
            <ac:spMk id="74" creationId="{AF088381-FBD2-4F27-BD98-044CFD13A13E}"/>
          </ac:spMkLst>
        </pc:spChg>
        <pc:spChg chg="add mod">
          <ac:chgData name="Andrew Sharp" userId="53f178df-da21-4936-8a93-86de9258956d" providerId="ADAL" clId="{0C248C7E-5B4F-4D11-9379-C3CCEE5B67A0}" dt="2018-11-03T15:31:22.288" v="27165" actId="164"/>
          <ac:spMkLst>
            <pc:docMk/>
            <pc:sldMk cId="307396724" sldId="501"/>
            <ac:spMk id="75" creationId="{EC83809C-0043-4AAC-B54F-BDF238EFBA23}"/>
          </ac:spMkLst>
        </pc:spChg>
        <pc:spChg chg="add mod">
          <ac:chgData name="Andrew Sharp" userId="53f178df-da21-4936-8a93-86de9258956d" providerId="ADAL" clId="{0C248C7E-5B4F-4D11-9379-C3CCEE5B67A0}" dt="2018-11-03T15:31:22.288" v="27165" actId="164"/>
          <ac:spMkLst>
            <pc:docMk/>
            <pc:sldMk cId="307396724" sldId="501"/>
            <ac:spMk id="76" creationId="{783A1E6E-A48F-4360-B16E-17DF302DBBFA}"/>
          </ac:spMkLst>
        </pc:spChg>
        <pc:spChg chg="add mod">
          <ac:chgData name="Andrew Sharp" userId="53f178df-da21-4936-8a93-86de9258956d" providerId="ADAL" clId="{0C248C7E-5B4F-4D11-9379-C3CCEE5B67A0}" dt="2018-11-03T15:31:22.288" v="27165" actId="164"/>
          <ac:spMkLst>
            <pc:docMk/>
            <pc:sldMk cId="307396724" sldId="501"/>
            <ac:spMk id="77" creationId="{22712686-C548-46B1-9BA1-82D4FE086C15}"/>
          </ac:spMkLst>
        </pc:spChg>
        <pc:spChg chg="add mod">
          <ac:chgData name="Andrew Sharp" userId="53f178df-da21-4936-8a93-86de9258956d" providerId="ADAL" clId="{0C248C7E-5B4F-4D11-9379-C3CCEE5B67A0}" dt="2018-11-03T15:31:22.288" v="27165" actId="164"/>
          <ac:spMkLst>
            <pc:docMk/>
            <pc:sldMk cId="307396724" sldId="501"/>
            <ac:spMk id="78" creationId="{967D2A22-A848-4294-B6D3-C0598F602B56}"/>
          </ac:spMkLst>
        </pc:spChg>
        <pc:spChg chg="add mod">
          <ac:chgData name="Andrew Sharp" userId="53f178df-da21-4936-8a93-86de9258956d" providerId="ADAL" clId="{0C248C7E-5B4F-4D11-9379-C3CCEE5B67A0}" dt="2018-11-03T15:31:22.288" v="27165" actId="164"/>
          <ac:spMkLst>
            <pc:docMk/>
            <pc:sldMk cId="307396724" sldId="501"/>
            <ac:spMk id="79" creationId="{2911768A-C232-4170-82CF-8D3744C4F005}"/>
          </ac:spMkLst>
        </pc:spChg>
        <pc:spChg chg="add mod">
          <ac:chgData name="Andrew Sharp" userId="53f178df-da21-4936-8a93-86de9258956d" providerId="ADAL" clId="{0C248C7E-5B4F-4D11-9379-C3CCEE5B67A0}" dt="2018-11-03T15:31:22.288" v="27165" actId="164"/>
          <ac:spMkLst>
            <pc:docMk/>
            <pc:sldMk cId="307396724" sldId="501"/>
            <ac:spMk id="80" creationId="{2373E39E-DBDC-493B-A7BC-EB9A779A6F8D}"/>
          </ac:spMkLst>
        </pc:spChg>
        <pc:spChg chg="add mod">
          <ac:chgData name="Andrew Sharp" userId="53f178df-da21-4936-8a93-86de9258956d" providerId="ADAL" clId="{0C248C7E-5B4F-4D11-9379-C3CCEE5B67A0}" dt="2018-11-03T15:31:22.288" v="27165" actId="164"/>
          <ac:spMkLst>
            <pc:docMk/>
            <pc:sldMk cId="307396724" sldId="501"/>
            <ac:spMk id="81" creationId="{3E03FCC5-B583-4EEF-8ECF-E0A9A73029ED}"/>
          </ac:spMkLst>
        </pc:spChg>
        <pc:spChg chg="add mod">
          <ac:chgData name="Andrew Sharp" userId="53f178df-da21-4936-8a93-86de9258956d" providerId="ADAL" clId="{0C248C7E-5B4F-4D11-9379-C3CCEE5B67A0}" dt="2018-11-03T15:31:22.288" v="27165" actId="164"/>
          <ac:spMkLst>
            <pc:docMk/>
            <pc:sldMk cId="307396724" sldId="501"/>
            <ac:spMk id="82" creationId="{F974311B-239E-4C86-8732-1422CBB678FB}"/>
          </ac:spMkLst>
        </pc:spChg>
        <pc:spChg chg="add mod">
          <ac:chgData name="Andrew Sharp" userId="53f178df-da21-4936-8a93-86de9258956d" providerId="ADAL" clId="{0C248C7E-5B4F-4D11-9379-C3CCEE5B67A0}" dt="2018-11-03T15:31:22.288" v="27165" actId="164"/>
          <ac:spMkLst>
            <pc:docMk/>
            <pc:sldMk cId="307396724" sldId="501"/>
            <ac:spMk id="83" creationId="{1E7D36BD-0B7D-4057-8C12-7239FF374DAA}"/>
          </ac:spMkLst>
        </pc:spChg>
        <pc:spChg chg="add mod">
          <ac:chgData name="Andrew Sharp" userId="53f178df-da21-4936-8a93-86de9258956d" providerId="ADAL" clId="{0C248C7E-5B4F-4D11-9379-C3CCEE5B67A0}" dt="2018-11-03T15:31:22.288" v="27165" actId="164"/>
          <ac:spMkLst>
            <pc:docMk/>
            <pc:sldMk cId="307396724" sldId="501"/>
            <ac:spMk id="84" creationId="{0D8E7677-31C1-414A-A37A-52CC921E7147}"/>
          </ac:spMkLst>
        </pc:spChg>
        <pc:spChg chg="add mod">
          <ac:chgData name="Andrew Sharp" userId="53f178df-da21-4936-8a93-86de9258956d" providerId="ADAL" clId="{0C248C7E-5B4F-4D11-9379-C3CCEE5B67A0}" dt="2018-11-03T15:31:22.288" v="27165" actId="164"/>
          <ac:spMkLst>
            <pc:docMk/>
            <pc:sldMk cId="307396724" sldId="501"/>
            <ac:spMk id="85" creationId="{42989D63-54B1-4A5A-9E76-11F57E6C1860}"/>
          </ac:spMkLst>
        </pc:spChg>
        <pc:spChg chg="add mod">
          <ac:chgData name="Andrew Sharp" userId="53f178df-da21-4936-8a93-86de9258956d" providerId="ADAL" clId="{0C248C7E-5B4F-4D11-9379-C3CCEE5B67A0}" dt="2018-11-03T15:31:22.288" v="27165" actId="164"/>
          <ac:spMkLst>
            <pc:docMk/>
            <pc:sldMk cId="307396724" sldId="501"/>
            <ac:spMk id="86" creationId="{DE3D9257-BEAF-4CB3-9134-C4DE455D2130}"/>
          </ac:spMkLst>
        </pc:spChg>
        <pc:spChg chg="add mod">
          <ac:chgData name="Andrew Sharp" userId="53f178df-da21-4936-8a93-86de9258956d" providerId="ADAL" clId="{0C248C7E-5B4F-4D11-9379-C3CCEE5B67A0}" dt="2018-11-03T15:31:22.288" v="27165" actId="164"/>
          <ac:spMkLst>
            <pc:docMk/>
            <pc:sldMk cId="307396724" sldId="501"/>
            <ac:spMk id="87" creationId="{D91A1883-C629-4CA5-9E0C-E0A4B0635EA1}"/>
          </ac:spMkLst>
        </pc:spChg>
        <pc:spChg chg="add mod">
          <ac:chgData name="Andrew Sharp" userId="53f178df-da21-4936-8a93-86de9258956d" providerId="ADAL" clId="{0C248C7E-5B4F-4D11-9379-C3CCEE5B67A0}" dt="2018-11-03T15:31:47.975" v="27170" actId="164"/>
          <ac:spMkLst>
            <pc:docMk/>
            <pc:sldMk cId="307396724" sldId="501"/>
            <ac:spMk id="100" creationId="{DA1CD906-639B-4035-A7C2-D555431FB9FF}"/>
          </ac:spMkLst>
        </pc:spChg>
        <pc:spChg chg="add mod">
          <ac:chgData name="Andrew Sharp" userId="53f178df-da21-4936-8a93-86de9258956d" providerId="ADAL" clId="{0C248C7E-5B4F-4D11-9379-C3CCEE5B67A0}" dt="2018-11-03T15:31:47.975" v="27170" actId="164"/>
          <ac:spMkLst>
            <pc:docMk/>
            <pc:sldMk cId="307396724" sldId="501"/>
            <ac:spMk id="101" creationId="{95C31792-8443-485E-BC23-F9EC25C0E7A7}"/>
          </ac:spMkLst>
        </pc:spChg>
        <pc:spChg chg="add mod">
          <ac:chgData name="Andrew Sharp" userId="53f178df-da21-4936-8a93-86de9258956d" providerId="ADAL" clId="{0C248C7E-5B4F-4D11-9379-C3CCEE5B67A0}" dt="2018-11-03T15:31:47.975" v="27170" actId="164"/>
          <ac:spMkLst>
            <pc:docMk/>
            <pc:sldMk cId="307396724" sldId="501"/>
            <ac:spMk id="102" creationId="{E3E4321C-42C7-4FED-A492-A0581DC29A62}"/>
          </ac:spMkLst>
        </pc:spChg>
        <pc:spChg chg="add mod">
          <ac:chgData name="Andrew Sharp" userId="53f178df-da21-4936-8a93-86de9258956d" providerId="ADAL" clId="{0C248C7E-5B4F-4D11-9379-C3CCEE5B67A0}" dt="2018-11-03T15:31:47.975" v="27170" actId="164"/>
          <ac:spMkLst>
            <pc:docMk/>
            <pc:sldMk cId="307396724" sldId="501"/>
            <ac:spMk id="103" creationId="{441DE86A-1DA5-4DAE-A492-DE8EDB0FD8BA}"/>
          </ac:spMkLst>
        </pc:spChg>
        <pc:spChg chg="add mod">
          <ac:chgData name="Andrew Sharp" userId="53f178df-da21-4936-8a93-86de9258956d" providerId="ADAL" clId="{0C248C7E-5B4F-4D11-9379-C3CCEE5B67A0}" dt="2018-11-03T15:31:47.975" v="27170" actId="164"/>
          <ac:spMkLst>
            <pc:docMk/>
            <pc:sldMk cId="307396724" sldId="501"/>
            <ac:spMk id="104" creationId="{7E0113B4-206C-461F-84E5-5FC5E1650647}"/>
          </ac:spMkLst>
        </pc:spChg>
        <pc:spChg chg="add mod">
          <ac:chgData name="Andrew Sharp" userId="53f178df-da21-4936-8a93-86de9258956d" providerId="ADAL" clId="{0C248C7E-5B4F-4D11-9379-C3CCEE5B67A0}" dt="2018-11-03T15:31:47.975" v="27170" actId="164"/>
          <ac:spMkLst>
            <pc:docMk/>
            <pc:sldMk cId="307396724" sldId="501"/>
            <ac:spMk id="105" creationId="{A0AF86CC-0FC1-4390-8F0E-CF74854D70ED}"/>
          </ac:spMkLst>
        </pc:spChg>
        <pc:spChg chg="add mod">
          <ac:chgData name="Andrew Sharp" userId="53f178df-da21-4936-8a93-86de9258956d" providerId="ADAL" clId="{0C248C7E-5B4F-4D11-9379-C3CCEE5B67A0}" dt="2018-11-03T15:31:47.975" v="27170" actId="164"/>
          <ac:spMkLst>
            <pc:docMk/>
            <pc:sldMk cId="307396724" sldId="501"/>
            <ac:spMk id="106" creationId="{CC117934-4E8D-4EE8-A427-5FB052D563BC}"/>
          </ac:spMkLst>
        </pc:spChg>
        <pc:spChg chg="add mod">
          <ac:chgData name="Andrew Sharp" userId="53f178df-da21-4936-8a93-86de9258956d" providerId="ADAL" clId="{0C248C7E-5B4F-4D11-9379-C3CCEE5B67A0}" dt="2018-11-03T15:31:47.975" v="27170" actId="164"/>
          <ac:spMkLst>
            <pc:docMk/>
            <pc:sldMk cId="307396724" sldId="501"/>
            <ac:spMk id="108" creationId="{C0E84770-57C9-4F5D-8F50-D0D8FF348A79}"/>
          </ac:spMkLst>
        </pc:spChg>
        <pc:spChg chg="add mod">
          <ac:chgData name="Andrew Sharp" userId="53f178df-da21-4936-8a93-86de9258956d" providerId="ADAL" clId="{0C248C7E-5B4F-4D11-9379-C3CCEE5B67A0}" dt="2018-11-03T15:31:47.975" v="27170" actId="164"/>
          <ac:spMkLst>
            <pc:docMk/>
            <pc:sldMk cId="307396724" sldId="501"/>
            <ac:spMk id="109" creationId="{2BBD72B2-3183-454E-B90D-1906F15D0D6A}"/>
          </ac:spMkLst>
        </pc:spChg>
        <pc:spChg chg="add mod">
          <ac:chgData name="Andrew Sharp" userId="53f178df-da21-4936-8a93-86de9258956d" providerId="ADAL" clId="{0C248C7E-5B4F-4D11-9379-C3CCEE5B67A0}" dt="2018-11-03T15:31:47.975" v="27170" actId="164"/>
          <ac:spMkLst>
            <pc:docMk/>
            <pc:sldMk cId="307396724" sldId="501"/>
            <ac:spMk id="110" creationId="{CB63D42E-DAD6-43C1-AE89-770D342FEAB1}"/>
          </ac:spMkLst>
        </pc:spChg>
        <pc:spChg chg="add mod">
          <ac:chgData name="Andrew Sharp" userId="53f178df-da21-4936-8a93-86de9258956d" providerId="ADAL" clId="{0C248C7E-5B4F-4D11-9379-C3CCEE5B67A0}" dt="2018-11-03T15:31:47.975" v="27170" actId="164"/>
          <ac:spMkLst>
            <pc:docMk/>
            <pc:sldMk cId="307396724" sldId="501"/>
            <ac:spMk id="111" creationId="{619F8950-F467-4724-A3DC-20DF1643AD41}"/>
          </ac:spMkLst>
        </pc:spChg>
        <pc:spChg chg="add mod">
          <ac:chgData name="Andrew Sharp" userId="53f178df-da21-4936-8a93-86de9258956d" providerId="ADAL" clId="{0C248C7E-5B4F-4D11-9379-C3CCEE5B67A0}" dt="2018-11-03T15:31:47.975" v="27170" actId="164"/>
          <ac:spMkLst>
            <pc:docMk/>
            <pc:sldMk cId="307396724" sldId="501"/>
            <ac:spMk id="112" creationId="{ED11F0B5-764F-47AE-83BF-553AE7301A89}"/>
          </ac:spMkLst>
        </pc:spChg>
        <pc:spChg chg="add mod">
          <ac:chgData name="Andrew Sharp" userId="53f178df-da21-4936-8a93-86de9258956d" providerId="ADAL" clId="{0C248C7E-5B4F-4D11-9379-C3CCEE5B67A0}" dt="2018-11-03T15:31:47.975" v="27170" actId="164"/>
          <ac:spMkLst>
            <pc:docMk/>
            <pc:sldMk cId="307396724" sldId="501"/>
            <ac:spMk id="113" creationId="{E943E972-E620-46CD-9797-DB20058B6407}"/>
          </ac:spMkLst>
        </pc:spChg>
        <pc:spChg chg="add mod">
          <ac:chgData name="Andrew Sharp" userId="53f178df-da21-4936-8a93-86de9258956d" providerId="ADAL" clId="{0C248C7E-5B4F-4D11-9379-C3CCEE5B67A0}" dt="2018-11-03T15:31:47.975" v="27170" actId="164"/>
          <ac:spMkLst>
            <pc:docMk/>
            <pc:sldMk cId="307396724" sldId="501"/>
            <ac:spMk id="114" creationId="{6C36E846-8140-40FA-8317-54814C9832F3}"/>
          </ac:spMkLst>
        </pc:spChg>
        <pc:spChg chg="add mod">
          <ac:chgData name="Andrew Sharp" userId="53f178df-da21-4936-8a93-86de9258956d" providerId="ADAL" clId="{0C248C7E-5B4F-4D11-9379-C3CCEE5B67A0}" dt="2018-11-03T15:31:47.975" v="27170" actId="164"/>
          <ac:spMkLst>
            <pc:docMk/>
            <pc:sldMk cId="307396724" sldId="501"/>
            <ac:spMk id="115" creationId="{EC5466D5-7889-42B5-9EF5-16C4B2E6C243}"/>
          </ac:spMkLst>
        </pc:spChg>
        <pc:spChg chg="add mod">
          <ac:chgData name="Andrew Sharp" userId="53f178df-da21-4936-8a93-86de9258956d" providerId="ADAL" clId="{0C248C7E-5B4F-4D11-9379-C3CCEE5B67A0}" dt="2018-11-03T15:31:47.975" v="27170" actId="164"/>
          <ac:spMkLst>
            <pc:docMk/>
            <pc:sldMk cId="307396724" sldId="501"/>
            <ac:spMk id="116" creationId="{745FF376-A4D3-4BFA-A974-33FA7E82F2B0}"/>
          </ac:spMkLst>
        </pc:spChg>
        <pc:spChg chg="add mod">
          <ac:chgData name="Andrew Sharp" userId="53f178df-da21-4936-8a93-86de9258956d" providerId="ADAL" clId="{0C248C7E-5B4F-4D11-9379-C3CCEE5B67A0}" dt="2018-11-03T15:31:47.975" v="27170" actId="164"/>
          <ac:spMkLst>
            <pc:docMk/>
            <pc:sldMk cId="307396724" sldId="501"/>
            <ac:spMk id="117" creationId="{96BA3353-3BEB-4F9E-BB80-8A9AADA928E5}"/>
          </ac:spMkLst>
        </pc:spChg>
        <pc:spChg chg="add mod">
          <ac:chgData name="Andrew Sharp" userId="53f178df-da21-4936-8a93-86de9258956d" providerId="ADAL" clId="{0C248C7E-5B4F-4D11-9379-C3CCEE5B67A0}" dt="2018-11-03T15:31:47.975" v="27170" actId="164"/>
          <ac:spMkLst>
            <pc:docMk/>
            <pc:sldMk cId="307396724" sldId="501"/>
            <ac:spMk id="118" creationId="{CE28682D-E46C-4900-A682-87DCFCAFDE5C}"/>
          </ac:spMkLst>
        </pc:spChg>
        <pc:spChg chg="add mod">
          <ac:chgData name="Andrew Sharp" userId="53f178df-da21-4936-8a93-86de9258956d" providerId="ADAL" clId="{0C248C7E-5B4F-4D11-9379-C3CCEE5B67A0}" dt="2018-11-03T15:31:47.975" v="27170" actId="164"/>
          <ac:spMkLst>
            <pc:docMk/>
            <pc:sldMk cId="307396724" sldId="501"/>
            <ac:spMk id="119" creationId="{8EBC27F3-46A4-4710-875C-6C5CEAF4F1FF}"/>
          </ac:spMkLst>
        </pc:spChg>
        <pc:spChg chg="add mod">
          <ac:chgData name="Andrew Sharp" userId="53f178df-da21-4936-8a93-86de9258956d" providerId="ADAL" clId="{0C248C7E-5B4F-4D11-9379-C3CCEE5B67A0}" dt="2018-11-03T15:31:47.975" v="27170" actId="164"/>
          <ac:spMkLst>
            <pc:docMk/>
            <pc:sldMk cId="307396724" sldId="501"/>
            <ac:spMk id="120" creationId="{B8349B1A-1EE2-4181-81A9-B89135C6CDEA}"/>
          </ac:spMkLst>
        </pc:spChg>
        <pc:spChg chg="add mod">
          <ac:chgData name="Andrew Sharp" userId="53f178df-da21-4936-8a93-86de9258956d" providerId="ADAL" clId="{0C248C7E-5B4F-4D11-9379-C3CCEE5B67A0}" dt="2018-11-03T15:31:47.975" v="27170" actId="164"/>
          <ac:spMkLst>
            <pc:docMk/>
            <pc:sldMk cId="307396724" sldId="501"/>
            <ac:spMk id="121" creationId="{712955C9-826E-4720-A1B5-B7BEC6BE6D8A}"/>
          </ac:spMkLst>
        </pc:spChg>
        <pc:grpChg chg="del">
          <ac:chgData name="Andrew Sharp" userId="53f178df-da21-4936-8a93-86de9258956d" providerId="ADAL" clId="{0C248C7E-5B4F-4D11-9379-C3CCEE5B67A0}" dt="2018-10-25T14:07:00.542" v="20076" actId="165"/>
          <ac:grpSpMkLst>
            <pc:docMk/>
            <pc:sldMk cId="307396724" sldId="501"/>
            <ac:grpSpMk id="6" creationId="{00000000-0000-0000-0000-000000000000}"/>
          </ac:grpSpMkLst>
        </pc:grpChg>
        <pc:grpChg chg="add mod">
          <ac:chgData name="Andrew Sharp" userId="53f178df-da21-4936-8a93-86de9258956d" providerId="ADAL" clId="{0C248C7E-5B4F-4D11-9379-C3CCEE5B67A0}" dt="2018-11-02T17:33:52.735" v="25285" actId="164"/>
          <ac:grpSpMkLst>
            <pc:docMk/>
            <pc:sldMk cId="307396724" sldId="501"/>
            <ac:grpSpMk id="6" creationId="{F943F682-BC03-4D2E-B4D9-5CE57B06486A}"/>
          </ac:grpSpMkLst>
        </pc:grpChg>
        <pc:grpChg chg="add del mod">
          <ac:chgData name="Andrew Sharp" userId="53f178df-da21-4936-8a93-86de9258956d" providerId="ADAL" clId="{0C248C7E-5B4F-4D11-9379-C3CCEE5B67A0}" dt="2018-11-03T15:31:23.851" v="27166"/>
          <ac:grpSpMkLst>
            <pc:docMk/>
            <pc:sldMk cId="307396724" sldId="501"/>
            <ac:grpSpMk id="10" creationId="{D8388652-BE4B-4526-90B6-26FC74ADC962}"/>
          </ac:grpSpMkLst>
        </pc:grpChg>
        <pc:grpChg chg="add del mod">
          <ac:chgData name="Andrew Sharp" userId="53f178df-da21-4936-8a93-86de9258956d" providerId="ADAL" clId="{0C248C7E-5B4F-4D11-9379-C3CCEE5B67A0}" dt="2018-11-03T15:31:50.028" v="27171"/>
          <ac:grpSpMkLst>
            <pc:docMk/>
            <pc:sldMk cId="307396724" sldId="501"/>
            <ac:grpSpMk id="14" creationId="{32728142-5A1B-4422-8532-4E8672A7B81F}"/>
          </ac:grpSpMkLst>
        </pc:grpChg>
        <pc:grpChg chg="add mod">
          <ac:chgData name="Andrew Sharp" userId="53f178df-da21-4936-8a93-86de9258956d" providerId="ADAL" clId="{0C248C7E-5B4F-4D11-9379-C3CCEE5B67A0}" dt="2018-11-03T15:31:22.288" v="27165" actId="164"/>
          <ac:grpSpMkLst>
            <pc:docMk/>
            <pc:sldMk cId="307396724" sldId="501"/>
            <ac:grpSpMk id="88" creationId="{6903D30B-6D8B-443C-A6AA-2466A63F93E2}"/>
          </ac:grpSpMkLst>
        </pc:grpChg>
        <pc:grpChg chg="add mod">
          <ac:chgData name="Andrew Sharp" userId="53f178df-da21-4936-8a93-86de9258956d" providerId="ADAL" clId="{0C248C7E-5B4F-4D11-9379-C3CCEE5B67A0}" dt="2018-11-03T15:31:47.975" v="27170" actId="164"/>
          <ac:grpSpMkLst>
            <pc:docMk/>
            <pc:sldMk cId="307396724" sldId="501"/>
            <ac:grpSpMk id="122" creationId="{BDE6BC18-695E-4EEC-A204-136189B0368E}"/>
          </ac:grpSpMkLst>
        </pc:grpChg>
        <pc:grpChg chg="add del">
          <ac:chgData name="Andrew Sharp" userId="53f178df-da21-4936-8a93-86de9258956d" providerId="ADAL" clId="{0C248C7E-5B4F-4D11-9379-C3CCEE5B67A0}" dt="2018-11-03T15:45:00.349" v="27747"/>
          <ac:grpSpMkLst>
            <pc:docMk/>
            <pc:sldMk cId="307396724" sldId="501"/>
            <ac:grpSpMk id="125" creationId="{88D40C24-BDE1-443B-921B-B766AA077231}"/>
          </ac:grpSpMkLst>
        </pc:grpChg>
        <pc:cxnChg chg="mod topLvl">
          <ac:chgData name="Andrew Sharp" userId="53f178df-da21-4936-8a93-86de9258956d" providerId="ADAL" clId="{0C248C7E-5B4F-4D11-9379-C3CCEE5B67A0}" dt="2018-10-25T14:07:00.542" v="20076" actId="165"/>
          <ac:cxnSpMkLst>
            <pc:docMk/>
            <pc:sldMk cId="307396724" sldId="501"/>
            <ac:cxnSpMk id="7" creationId="{00000000-0000-0000-0000-000000000000}"/>
          </ac:cxnSpMkLst>
        </pc:cxnChg>
        <pc:cxnChg chg="mod topLvl">
          <ac:chgData name="Andrew Sharp" userId="53f178df-da21-4936-8a93-86de9258956d" providerId="ADAL" clId="{0C248C7E-5B4F-4D11-9379-C3CCEE5B67A0}" dt="2018-10-25T14:07:00.542" v="20076" actId="165"/>
          <ac:cxnSpMkLst>
            <pc:docMk/>
            <pc:sldMk cId="307396724" sldId="501"/>
            <ac:cxnSpMk id="8" creationId="{00000000-0000-0000-0000-000000000000}"/>
          </ac:cxnSpMkLst>
        </pc:cxnChg>
        <pc:cxnChg chg="mod topLvl">
          <ac:chgData name="Andrew Sharp" userId="53f178df-da21-4936-8a93-86de9258956d" providerId="ADAL" clId="{0C248C7E-5B4F-4D11-9379-C3CCEE5B67A0}" dt="2018-10-25T14:07:00.542" v="20076" actId="165"/>
          <ac:cxnSpMkLst>
            <pc:docMk/>
            <pc:sldMk cId="307396724" sldId="501"/>
            <ac:cxnSpMk id="9" creationId="{00000000-0000-0000-0000-000000000000}"/>
          </ac:cxnSpMkLst>
        </pc:cxnChg>
        <pc:cxnChg chg="mod topLvl">
          <ac:chgData name="Andrew Sharp" userId="53f178df-da21-4936-8a93-86de9258956d" providerId="ADAL" clId="{0C248C7E-5B4F-4D11-9379-C3CCEE5B67A0}" dt="2018-10-25T14:07:00.542" v="20076" actId="165"/>
          <ac:cxnSpMkLst>
            <pc:docMk/>
            <pc:sldMk cId="307396724" sldId="501"/>
            <ac:cxnSpMk id="11" creationId="{00000000-0000-0000-0000-000000000000}"/>
          </ac:cxnSpMkLst>
        </pc:cxnChg>
        <pc:cxnChg chg="mod topLvl">
          <ac:chgData name="Andrew Sharp" userId="53f178df-da21-4936-8a93-86de9258956d" providerId="ADAL" clId="{0C248C7E-5B4F-4D11-9379-C3CCEE5B67A0}" dt="2018-10-25T14:07:00.542" v="20076" actId="165"/>
          <ac:cxnSpMkLst>
            <pc:docMk/>
            <pc:sldMk cId="307396724" sldId="501"/>
            <ac:cxnSpMk id="12" creationId="{00000000-0000-0000-0000-000000000000}"/>
          </ac:cxnSpMkLst>
        </pc:cxnChg>
        <pc:cxnChg chg="mod topLvl">
          <ac:chgData name="Andrew Sharp" userId="53f178df-da21-4936-8a93-86de9258956d" providerId="ADAL" clId="{0C248C7E-5B4F-4D11-9379-C3CCEE5B67A0}" dt="2018-10-25T14:07:00.542" v="20076" actId="165"/>
          <ac:cxnSpMkLst>
            <pc:docMk/>
            <pc:sldMk cId="307396724" sldId="501"/>
            <ac:cxnSpMk id="13" creationId="{00000000-0000-0000-0000-000000000000}"/>
          </ac:cxnSpMkLst>
        </pc:cxnChg>
        <pc:cxnChg chg="mod topLvl">
          <ac:chgData name="Andrew Sharp" userId="53f178df-da21-4936-8a93-86de9258956d" providerId="ADAL" clId="{0C248C7E-5B4F-4D11-9379-C3CCEE5B67A0}" dt="2018-10-25T14:07:00.542" v="20076" actId="165"/>
          <ac:cxnSpMkLst>
            <pc:docMk/>
            <pc:sldMk cId="307396724" sldId="501"/>
            <ac:cxnSpMk id="15" creationId="{00000000-0000-0000-0000-000000000000}"/>
          </ac:cxnSpMkLst>
        </pc:cxnChg>
        <pc:cxnChg chg="mod topLvl">
          <ac:chgData name="Andrew Sharp" userId="53f178df-da21-4936-8a93-86de9258956d" providerId="ADAL" clId="{0C248C7E-5B4F-4D11-9379-C3CCEE5B67A0}" dt="2018-10-25T14:07:00.542" v="20076" actId="165"/>
          <ac:cxnSpMkLst>
            <pc:docMk/>
            <pc:sldMk cId="307396724" sldId="501"/>
            <ac:cxnSpMk id="16" creationId="{00000000-0000-0000-0000-000000000000}"/>
          </ac:cxnSpMkLst>
        </pc:cxnChg>
        <pc:cxnChg chg="mod topLvl">
          <ac:chgData name="Andrew Sharp" userId="53f178df-da21-4936-8a93-86de9258956d" providerId="ADAL" clId="{0C248C7E-5B4F-4D11-9379-C3CCEE5B67A0}" dt="2018-10-25T14:07:00.542" v="20076" actId="165"/>
          <ac:cxnSpMkLst>
            <pc:docMk/>
            <pc:sldMk cId="307396724" sldId="501"/>
            <ac:cxnSpMk id="17" creationId="{00000000-0000-0000-0000-000000000000}"/>
          </ac:cxnSpMkLst>
        </pc:cxnChg>
        <pc:cxnChg chg="del">
          <ac:chgData name="Andrew Sharp" userId="53f178df-da21-4936-8a93-86de9258956d" providerId="ADAL" clId="{0C248C7E-5B4F-4D11-9379-C3CCEE5B67A0}" dt="2018-10-02T15:15:38.749" v="18" actId="478"/>
          <ac:cxnSpMkLst>
            <pc:docMk/>
            <pc:sldMk cId="307396724" sldId="501"/>
            <ac:cxnSpMk id="18" creationId="{00000000-0000-0000-0000-000000000000}"/>
          </ac:cxnSpMkLst>
        </pc:cxnChg>
        <pc:cxnChg chg="mod topLvl">
          <ac:chgData name="Andrew Sharp" userId="53f178df-da21-4936-8a93-86de9258956d" providerId="ADAL" clId="{0C248C7E-5B4F-4D11-9379-C3CCEE5B67A0}" dt="2018-10-25T14:09:28.779" v="20134" actId="14100"/>
          <ac:cxnSpMkLst>
            <pc:docMk/>
            <pc:sldMk cId="307396724" sldId="501"/>
            <ac:cxnSpMk id="19" creationId="{00000000-0000-0000-0000-000000000000}"/>
          </ac:cxnSpMkLst>
        </pc:cxnChg>
        <pc:cxnChg chg="mod topLvl">
          <ac:chgData name="Andrew Sharp" userId="53f178df-da21-4936-8a93-86de9258956d" providerId="ADAL" clId="{0C248C7E-5B4F-4D11-9379-C3CCEE5B67A0}" dt="2018-10-25T14:07:00.542" v="20076" actId="165"/>
          <ac:cxnSpMkLst>
            <pc:docMk/>
            <pc:sldMk cId="307396724" sldId="501"/>
            <ac:cxnSpMk id="28" creationId="{00000000-0000-0000-0000-000000000000}"/>
          </ac:cxnSpMkLst>
        </pc:cxnChg>
        <pc:cxnChg chg="mod topLvl">
          <ac:chgData name="Andrew Sharp" userId="53f178df-da21-4936-8a93-86de9258956d" providerId="ADAL" clId="{0C248C7E-5B4F-4D11-9379-C3CCEE5B67A0}" dt="2018-11-05T14:00:24.312" v="30078" actId="14100"/>
          <ac:cxnSpMkLst>
            <pc:docMk/>
            <pc:sldMk cId="307396724" sldId="501"/>
            <ac:cxnSpMk id="36" creationId="{00000000-0000-0000-0000-000000000000}"/>
          </ac:cxnSpMkLst>
        </pc:cxnChg>
        <pc:cxnChg chg="add del mod topLvl">
          <ac:chgData name="Andrew Sharp" userId="53f178df-da21-4936-8a93-86de9258956d" providerId="ADAL" clId="{0C248C7E-5B4F-4D11-9379-C3CCEE5B67A0}" dt="2018-11-06T18:55:20.270" v="39609" actId="14100"/>
          <ac:cxnSpMkLst>
            <pc:docMk/>
            <pc:sldMk cId="307396724" sldId="501"/>
            <ac:cxnSpMk id="44" creationId="{00000000-0000-0000-0000-000000000000}"/>
          </ac:cxnSpMkLst>
        </pc:cxnChg>
        <pc:cxnChg chg="add mod">
          <ac:chgData name="Andrew Sharp" userId="53f178df-da21-4936-8a93-86de9258956d" providerId="ADAL" clId="{0C248C7E-5B4F-4D11-9379-C3CCEE5B67A0}" dt="2018-11-03T15:31:22.288" v="27165" actId="164"/>
          <ac:cxnSpMkLst>
            <pc:docMk/>
            <pc:sldMk cId="307396724" sldId="501"/>
            <ac:cxnSpMk id="57" creationId="{605DB212-962E-41C7-8332-E8151A6BF63E}"/>
          </ac:cxnSpMkLst>
        </pc:cxnChg>
        <pc:cxnChg chg="add mod">
          <ac:chgData name="Andrew Sharp" userId="53f178df-da21-4936-8a93-86de9258956d" providerId="ADAL" clId="{0C248C7E-5B4F-4D11-9379-C3CCEE5B67A0}" dt="2018-11-03T15:31:22.288" v="27165" actId="164"/>
          <ac:cxnSpMkLst>
            <pc:docMk/>
            <pc:sldMk cId="307396724" sldId="501"/>
            <ac:cxnSpMk id="61" creationId="{838ADDB0-481B-4DC0-8799-2352B484F001}"/>
          </ac:cxnSpMkLst>
        </pc:cxnChg>
        <pc:cxnChg chg="add mod">
          <ac:chgData name="Andrew Sharp" userId="53f178df-da21-4936-8a93-86de9258956d" providerId="ADAL" clId="{0C248C7E-5B4F-4D11-9379-C3CCEE5B67A0}" dt="2018-11-03T15:31:22.288" v="27165" actId="164"/>
          <ac:cxnSpMkLst>
            <pc:docMk/>
            <pc:sldMk cId="307396724" sldId="501"/>
            <ac:cxnSpMk id="62" creationId="{54964F20-C02F-47B5-B894-872A08C84B29}"/>
          </ac:cxnSpMkLst>
        </pc:cxnChg>
        <pc:cxnChg chg="add mod">
          <ac:chgData name="Andrew Sharp" userId="53f178df-da21-4936-8a93-86de9258956d" providerId="ADAL" clId="{0C248C7E-5B4F-4D11-9379-C3CCEE5B67A0}" dt="2018-11-03T15:31:22.288" v="27165" actId="164"/>
          <ac:cxnSpMkLst>
            <pc:docMk/>
            <pc:sldMk cId="307396724" sldId="501"/>
            <ac:cxnSpMk id="63" creationId="{AAF516ED-8A1A-4F6C-83C6-39B3DEA41BB9}"/>
          </ac:cxnSpMkLst>
        </pc:cxnChg>
        <pc:cxnChg chg="add mod">
          <ac:chgData name="Andrew Sharp" userId="53f178df-da21-4936-8a93-86de9258956d" providerId="ADAL" clId="{0C248C7E-5B4F-4D11-9379-C3CCEE5B67A0}" dt="2018-11-03T15:31:22.288" v="27165" actId="164"/>
          <ac:cxnSpMkLst>
            <pc:docMk/>
            <pc:sldMk cId="307396724" sldId="501"/>
            <ac:cxnSpMk id="64" creationId="{5F95D83B-C363-4002-BDCC-8624FC05F98A}"/>
          </ac:cxnSpMkLst>
        </pc:cxnChg>
        <pc:cxnChg chg="add mod">
          <ac:chgData name="Andrew Sharp" userId="53f178df-da21-4936-8a93-86de9258956d" providerId="ADAL" clId="{0C248C7E-5B4F-4D11-9379-C3CCEE5B67A0}" dt="2018-11-03T15:31:22.288" v="27165" actId="164"/>
          <ac:cxnSpMkLst>
            <pc:docMk/>
            <pc:sldMk cId="307396724" sldId="501"/>
            <ac:cxnSpMk id="66" creationId="{A724556D-89A6-4BA6-AFEF-FA44A9E37351}"/>
          </ac:cxnSpMkLst>
        </pc:cxnChg>
        <pc:cxnChg chg="add mod">
          <ac:chgData name="Andrew Sharp" userId="53f178df-da21-4936-8a93-86de9258956d" providerId="ADAL" clId="{0C248C7E-5B4F-4D11-9379-C3CCEE5B67A0}" dt="2018-11-03T15:31:22.288" v="27165" actId="164"/>
          <ac:cxnSpMkLst>
            <pc:docMk/>
            <pc:sldMk cId="307396724" sldId="501"/>
            <ac:cxnSpMk id="67" creationId="{F7234E97-A919-4079-8676-6EE7541818E9}"/>
          </ac:cxnSpMkLst>
        </pc:cxnChg>
        <pc:cxnChg chg="add mod">
          <ac:chgData name="Andrew Sharp" userId="53f178df-da21-4936-8a93-86de9258956d" providerId="ADAL" clId="{0C248C7E-5B4F-4D11-9379-C3CCEE5B67A0}" dt="2018-11-03T15:31:22.288" v="27165" actId="164"/>
          <ac:cxnSpMkLst>
            <pc:docMk/>
            <pc:sldMk cId="307396724" sldId="501"/>
            <ac:cxnSpMk id="68" creationId="{1418CBF6-5C71-48E6-B58F-3EF92A52569B}"/>
          </ac:cxnSpMkLst>
        </pc:cxnChg>
        <pc:cxnChg chg="add mod">
          <ac:chgData name="Andrew Sharp" userId="53f178df-da21-4936-8a93-86de9258956d" providerId="ADAL" clId="{0C248C7E-5B4F-4D11-9379-C3CCEE5B67A0}" dt="2018-11-03T15:31:22.288" v="27165" actId="164"/>
          <ac:cxnSpMkLst>
            <pc:docMk/>
            <pc:sldMk cId="307396724" sldId="501"/>
            <ac:cxnSpMk id="69" creationId="{30B90EEE-8192-471E-81BE-8E0831F6B9E7}"/>
          </ac:cxnSpMkLst>
        </pc:cxnChg>
        <pc:cxnChg chg="add mod">
          <ac:chgData name="Andrew Sharp" userId="53f178df-da21-4936-8a93-86de9258956d" providerId="ADAL" clId="{0C248C7E-5B4F-4D11-9379-C3CCEE5B67A0}" dt="2018-11-03T15:31:47.975" v="27170" actId="164"/>
          <ac:cxnSpMkLst>
            <pc:docMk/>
            <pc:sldMk cId="307396724" sldId="501"/>
            <ac:cxnSpMk id="91" creationId="{7DD16044-6275-4E18-8CF9-CF86236695F9}"/>
          </ac:cxnSpMkLst>
        </pc:cxnChg>
        <pc:cxnChg chg="add mod">
          <ac:chgData name="Andrew Sharp" userId="53f178df-da21-4936-8a93-86de9258956d" providerId="ADAL" clId="{0C248C7E-5B4F-4D11-9379-C3CCEE5B67A0}" dt="2018-11-03T15:31:47.975" v="27170" actId="164"/>
          <ac:cxnSpMkLst>
            <pc:docMk/>
            <pc:sldMk cId="307396724" sldId="501"/>
            <ac:cxnSpMk id="92" creationId="{7D4377CE-1372-4062-8E5C-F730D12265D6}"/>
          </ac:cxnSpMkLst>
        </pc:cxnChg>
        <pc:cxnChg chg="add mod">
          <ac:chgData name="Andrew Sharp" userId="53f178df-da21-4936-8a93-86de9258956d" providerId="ADAL" clId="{0C248C7E-5B4F-4D11-9379-C3CCEE5B67A0}" dt="2018-11-03T15:31:47.975" v="27170" actId="164"/>
          <ac:cxnSpMkLst>
            <pc:docMk/>
            <pc:sldMk cId="307396724" sldId="501"/>
            <ac:cxnSpMk id="93" creationId="{C398A7C7-50C4-408B-B140-14F07D15326D}"/>
          </ac:cxnSpMkLst>
        </pc:cxnChg>
        <pc:cxnChg chg="add mod">
          <ac:chgData name="Andrew Sharp" userId="53f178df-da21-4936-8a93-86de9258956d" providerId="ADAL" clId="{0C248C7E-5B4F-4D11-9379-C3CCEE5B67A0}" dt="2018-11-03T15:31:47.975" v="27170" actId="164"/>
          <ac:cxnSpMkLst>
            <pc:docMk/>
            <pc:sldMk cId="307396724" sldId="501"/>
            <ac:cxnSpMk id="94" creationId="{57DC6EFA-055F-4683-8797-CC227FC61A2B}"/>
          </ac:cxnSpMkLst>
        </pc:cxnChg>
        <pc:cxnChg chg="add mod">
          <ac:chgData name="Andrew Sharp" userId="53f178df-da21-4936-8a93-86de9258956d" providerId="ADAL" clId="{0C248C7E-5B4F-4D11-9379-C3CCEE5B67A0}" dt="2018-11-03T15:31:47.975" v="27170" actId="164"/>
          <ac:cxnSpMkLst>
            <pc:docMk/>
            <pc:sldMk cId="307396724" sldId="501"/>
            <ac:cxnSpMk id="95" creationId="{9A0E62AC-191E-46A7-B3DC-BDF63495ACDE}"/>
          </ac:cxnSpMkLst>
        </pc:cxnChg>
        <pc:cxnChg chg="add mod">
          <ac:chgData name="Andrew Sharp" userId="53f178df-da21-4936-8a93-86de9258956d" providerId="ADAL" clId="{0C248C7E-5B4F-4D11-9379-C3CCEE5B67A0}" dt="2018-11-03T15:31:47.975" v="27170" actId="164"/>
          <ac:cxnSpMkLst>
            <pc:docMk/>
            <pc:sldMk cId="307396724" sldId="501"/>
            <ac:cxnSpMk id="96" creationId="{178793EB-CC2E-47E4-AB35-B3290F2A1E3D}"/>
          </ac:cxnSpMkLst>
        </pc:cxnChg>
        <pc:cxnChg chg="add mod">
          <ac:chgData name="Andrew Sharp" userId="53f178df-da21-4936-8a93-86de9258956d" providerId="ADAL" clId="{0C248C7E-5B4F-4D11-9379-C3CCEE5B67A0}" dt="2018-11-03T15:31:47.975" v="27170" actId="164"/>
          <ac:cxnSpMkLst>
            <pc:docMk/>
            <pc:sldMk cId="307396724" sldId="501"/>
            <ac:cxnSpMk id="97" creationId="{B33C95DA-B88D-4994-9573-CB43CF8AB887}"/>
          </ac:cxnSpMkLst>
        </pc:cxnChg>
        <pc:cxnChg chg="add mod">
          <ac:chgData name="Andrew Sharp" userId="53f178df-da21-4936-8a93-86de9258956d" providerId="ADAL" clId="{0C248C7E-5B4F-4D11-9379-C3CCEE5B67A0}" dt="2018-11-03T15:31:47.975" v="27170" actId="164"/>
          <ac:cxnSpMkLst>
            <pc:docMk/>
            <pc:sldMk cId="307396724" sldId="501"/>
            <ac:cxnSpMk id="98" creationId="{52A2918D-87D5-4978-942B-D757952BD7F8}"/>
          </ac:cxnSpMkLst>
        </pc:cxnChg>
        <pc:cxnChg chg="add mod">
          <ac:chgData name="Andrew Sharp" userId="53f178df-da21-4936-8a93-86de9258956d" providerId="ADAL" clId="{0C248C7E-5B4F-4D11-9379-C3CCEE5B67A0}" dt="2018-11-03T15:31:47.975" v="27170" actId="164"/>
          <ac:cxnSpMkLst>
            <pc:docMk/>
            <pc:sldMk cId="307396724" sldId="501"/>
            <ac:cxnSpMk id="99" creationId="{1988B07A-0315-4EB9-A69A-9E282A2A5B66}"/>
          </ac:cxnSpMkLst>
        </pc:cxnChg>
        <pc:cxnChg chg="add mod">
          <ac:chgData name="Andrew Sharp" userId="53f178df-da21-4936-8a93-86de9258956d" providerId="ADAL" clId="{0C248C7E-5B4F-4D11-9379-C3CCEE5B67A0}" dt="2018-11-03T15:31:47.975" v="27170" actId="164"/>
          <ac:cxnSpMkLst>
            <pc:docMk/>
            <pc:sldMk cId="307396724" sldId="501"/>
            <ac:cxnSpMk id="107" creationId="{E4F8AFD7-77AD-4980-B9C8-4B0B0D62A088}"/>
          </ac:cxnSpMkLst>
        </pc:cxnChg>
      </pc:sldChg>
      <pc:sldChg chg="modSp addCm delCm modCm">
        <pc:chgData name="Andrew Sharp" userId="53f178df-da21-4936-8a93-86de9258956d" providerId="ADAL" clId="{0C248C7E-5B4F-4D11-9379-C3CCEE5B67A0}" dt="2018-11-02T17:52:58.580" v="26359" actId="1592"/>
        <pc:sldMkLst>
          <pc:docMk/>
          <pc:sldMk cId="3232949346" sldId="505"/>
        </pc:sldMkLst>
        <pc:spChg chg="mod">
          <ac:chgData name="Andrew Sharp" userId="53f178df-da21-4936-8a93-86de9258956d" providerId="ADAL" clId="{0C248C7E-5B4F-4D11-9379-C3CCEE5B67A0}" dt="2018-10-10T15:47:45.209" v="2789"/>
          <ac:spMkLst>
            <pc:docMk/>
            <pc:sldMk cId="3232949346" sldId="505"/>
            <ac:spMk id="5" creationId="{00000000-0000-0000-0000-000000000000}"/>
          </ac:spMkLst>
        </pc:spChg>
        <pc:spChg chg="mod">
          <ac:chgData name="Andrew Sharp" userId="53f178df-da21-4936-8a93-86de9258956d" providerId="ADAL" clId="{0C248C7E-5B4F-4D11-9379-C3CCEE5B67A0}" dt="2018-10-10T15:47:58.607" v="2806" actId="20577"/>
          <ac:spMkLst>
            <pc:docMk/>
            <pc:sldMk cId="3232949346" sldId="505"/>
            <ac:spMk id="6" creationId="{00000000-0000-0000-0000-000000000000}"/>
          </ac:spMkLst>
        </pc:spChg>
      </pc:sldChg>
      <pc:sldChg chg="modSp addCm delCm">
        <pc:chgData name="Andrew Sharp" userId="53f178df-da21-4936-8a93-86de9258956d" providerId="ADAL" clId="{0C248C7E-5B4F-4D11-9379-C3CCEE5B67A0}" dt="2018-11-02T17:53:35.493" v="26376" actId="1592"/>
        <pc:sldMkLst>
          <pc:docMk/>
          <pc:sldMk cId="2860042081" sldId="506"/>
        </pc:sldMkLst>
        <pc:picChg chg="mod">
          <ac:chgData name="Andrew Sharp" userId="53f178df-da21-4936-8a93-86de9258956d" providerId="ADAL" clId="{0C248C7E-5B4F-4D11-9379-C3CCEE5B67A0}" dt="2018-10-22T19:29:29.603" v="9473" actId="1076"/>
          <ac:picMkLst>
            <pc:docMk/>
            <pc:sldMk cId="2860042081" sldId="506"/>
            <ac:picMk id="6" creationId="{00000000-0000-0000-0000-000000000000}"/>
          </ac:picMkLst>
        </pc:picChg>
      </pc:sldChg>
      <pc:sldChg chg="addCm delCm">
        <pc:chgData name="Andrew Sharp" userId="53f178df-da21-4936-8a93-86de9258956d" providerId="ADAL" clId="{0C248C7E-5B4F-4D11-9379-C3CCEE5B67A0}" dt="2018-11-08T18:28:50.542" v="41074" actId="1592"/>
        <pc:sldMkLst>
          <pc:docMk/>
          <pc:sldMk cId="3901419316" sldId="507"/>
        </pc:sldMkLst>
      </pc:sldChg>
      <pc:sldChg chg="modSp addCm delCm">
        <pc:chgData name="Andrew Sharp" userId="53f178df-da21-4936-8a93-86de9258956d" providerId="ADAL" clId="{0C248C7E-5B4F-4D11-9379-C3CCEE5B67A0}" dt="2018-11-08T18:39:42.099" v="41289" actId="1592"/>
        <pc:sldMkLst>
          <pc:docMk/>
          <pc:sldMk cId="3676128014" sldId="510"/>
        </pc:sldMkLst>
        <pc:spChg chg="mod">
          <ac:chgData name="Andrew Sharp" userId="53f178df-da21-4936-8a93-86de9258956d" providerId="ADAL" clId="{0C248C7E-5B4F-4D11-9379-C3CCEE5B67A0}" dt="2018-10-24T20:10:54.198" v="14758" actId="20577"/>
          <ac:spMkLst>
            <pc:docMk/>
            <pc:sldMk cId="3676128014" sldId="510"/>
            <ac:spMk id="2" creationId="{00000000-0000-0000-0000-000000000000}"/>
          </ac:spMkLst>
        </pc:spChg>
      </pc:sldChg>
      <pc:sldChg chg="modSp">
        <pc:chgData name="Andrew Sharp" userId="53f178df-da21-4936-8a93-86de9258956d" providerId="ADAL" clId="{0C248C7E-5B4F-4D11-9379-C3CCEE5B67A0}" dt="2018-11-02T21:15:24.179" v="26669" actId="20577"/>
        <pc:sldMkLst>
          <pc:docMk/>
          <pc:sldMk cId="2682144730" sldId="511"/>
        </pc:sldMkLst>
        <pc:spChg chg="mod">
          <ac:chgData name="Andrew Sharp" userId="53f178df-da21-4936-8a93-86de9258956d" providerId="ADAL" clId="{0C248C7E-5B4F-4D11-9379-C3CCEE5B67A0}" dt="2018-11-02T21:15:24.179" v="26669" actId="20577"/>
          <ac:spMkLst>
            <pc:docMk/>
            <pc:sldMk cId="2682144730" sldId="511"/>
            <ac:spMk id="2" creationId="{00000000-0000-0000-0000-000000000000}"/>
          </ac:spMkLst>
        </pc:spChg>
      </pc:sldChg>
      <pc:sldChg chg="modSp addCm delCm modCm">
        <pc:chgData name="Andrew Sharp" userId="53f178df-da21-4936-8a93-86de9258956d" providerId="ADAL" clId="{0C248C7E-5B4F-4D11-9379-C3CCEE5B67A0}" dt="2018-11-12T18:05:42.681" v="42036" actId="20577"/>
        <pc:sldMkLst>
          <pc:docMk/>
          <pc:sldMk cId="998106953" sldId="513"/>
        </pc:sldMkLst>
        <pc:spChg chg="mod">
          <ac:chgData name="Andrew Sharp" userId="53f178df-da21-4936-8a93-86de9258956d" providerId="ADAL" clId="{0C248C7E-5B4F-4D11-9379-C3CCEE5B67A0}" dt="2018-11-12T18:05:42.681" v="42036" actId="20577"/>
          <ac:spMkLst>
            <pc:docMk/>
            <pc:sldMk cId="998106953" sldId="513"/>
            <ac:spMk id="3" creationId="{00000000-0000-0000-0000-000000000000}"/>
          </ac:spMkLst>
        </pc:spChg>
        <pc:spChg chg="mod">
          <ac:chgData name="Andrew Sharp" userId="53f178df-da21-4936-8a93-86de9258956d" providerId="ADAL" clId="{0C248C7E-5B4F-4D11-9379-C3CCEE5B67A0}" dt="2018-11-08T18:29:45.822" v="41078" actId="113"/>
          <ac:spMkLst>
            <pc:docMk/>
            <pc:sldMk cId="998106953" sldId="513"/>
            <ac:spMk id="8" creationId="{00000000-0000-0000-0000-000000000000}"/>
          </ac:spMkLst>
        </pc:spChg>
      </pc:sldChg>
      <pc:sldChg chg="modSp delCm">
        <pc:chgData name="Andrew Sharp" userId="53f178df-da21-4936-8a93-86de9258956d" providerId="ADAL" clId="{0C248C7E-5B4F-4D11-9379-C3CCEE5B67A0}" dt="2018-11-08T18:30:32.020" v="41084" actId="1592"/>
        <pc:sldMkLst>
          <pc:docMk/>
          <pc:sldMk cId="4033022647" sldId="514"/>
        </pc:sldMkLst>
        <pc:spChg chg="mod">
          <ac:chgData name="Andrew Sharp" userId="53f178df-da21-4936-8a93-86de9258956d" providerId="ADAL" clId="{0C248C7E-5B4F-4D11-9379-C3CCEE5B67A0}" dt="2018-10-25T14:13:33.374" v="20241" actId="20577"/>
          <ac:spMkLst>
            <pc:docMk/>
            <pc:sldMk cId="4033022647" sldId="514"/>
            <ac:spMk id="2" creationId="{00000000-0000-0000-0000-000000000000}"/>
          </ac:spMkLst>
        </pc:spChg>
      </pc:sldChg>
      <pc:sldChg chg="addSp delSp modSp">
        <pc:chgData name="Andrew Sharp" userId="53f178df-da21-4936-8a93-86de9258956d" providerId="ADAL" clId="{0C248C7E-5B4F-4D11-9379-C3CCEE5B67A0}" dt="2018-11-03T15:32:12.146" v="27177"/>
        <pc:sldMkLst>
          <pc:docMk/>
          <pc:sldMk cId="3975777618" sldId="516"/>
        </pc:sldMkLst>
        <pc:spChg chg="mod">
          <ac:chgData name="Andrew Sharp" userId="53f178df-da21-4936-8a93-86de9258956d" providerId="ADAL" clId="{0C248C7E-5B4F-4D11-9379-C3CCEE5B67A0}" dt="2018-11-03T15:32:07.663" v="27176" actId="20577"/>
          <ac:spMkLst>
            <pc:docMk/>
            <pc:sldMk cId="3975777618" sldId="516"/>
            <ac:spMk id="16" creationId="{00000000-0000-0000-0000-000000000000}"/>
          </ac:spMkLst>
        </pc:spChg>
        <pc:grpChg chg="add del">
          <ac:chgData name="Andrew Sharp" userId="53f178df-da21-4936-8a93-86de9258956d" providerId="ADAL" clId="{0C248C7E-5B4F-4D11-9379-C3CCEE5B67A0}" dt="2018-11-03T15:31:37.881" v="27168"/>
          <ac:grpSpMkLst>
            <pc:docMk/>
            <pc:sldMk cId="3975777618" sldId="516"/>
            <ac:grpSpMk id="20" creationId="{E655086A-64EF-46DC-B951-CB2F184FAEBA}"/>
          </ac:grpSpMkLst>
        </pc:grpChg>
        <pc:grpChg chg="add del mod">
          <ac:chgData name="Andrew Sharp" userId="53f178df-da21-4936-8a93-86de9258956d" providerId="ADAL" clId="{0C248C7E-5B4F-4D11-9379-C3CCEE5B67A0}" dt="2018-11-03T15:32:12.146" v="27177"/>
          <ac:grpSpMkLst>
            <pc:docMk/>
            <pc:sldMk cId="3975777618" sldId="516"/>
            <ac:grpSpMk id="51" creationId="{97CA5675-1AEB-4A8E-9345-E0592984572C}"/>
          </ac:grpSpMkLst>
        </pc:grpChg>
      </pc:sldChg>
      <pc:sldChg chg="modSp addCm delCm">
        <pc:chgData name="Andrew Sharp" userId="53f178df-da21-4936-8a93-86de9258956d" providerId="ADAL" clId="{0C248C7E-5B4F-4D11-9379-C3CCEE5B67A0}" dt="2018-11-08T18:28:38.706" v="41072" actId="1592"/>
        <pc:sldMkLst>
          <pc:docMk/>
          <pc:sldMk cId="3382761305" sldId="518"/>
        </pc:sldMkLst>
        <pc:spChg chg="mod">
          <ac:chgData name="Andrew Sharp" userId="53f178df-da21-4936-8a93-86de9258956d" providerId="ADAL" clId="{0C248C7E-5B4F-4D11-9379-C3CCEE5B67A0}" dt="2018-11-03T15:32:27.032" v="27180" actId="20577"/>
          <ac:spMkLst>
            <pc:docMk/>
            <pc:sldMk cId="3382761305" sldId="518"/>
            <ac:spMk id="14" creationId="{00000000-0000-0000-0000-000000000000}"/>
          </ac:spMkLst>
        </pc:spChg>
        <pc:graphicFrameChg chg="modGraphic">
          <ac:chgData name="Andrew Sharp" userId="53f178df-da21-4936-8a93-86de9258956d" providerId="ADAL" clId="{0C248C7E-5B4F-4D11-9379-C3CCEE5B67A0}" dt="2018-11-08T18:28:35.638" v="41071" actId="6549"/>
          <ac:graphicFrameMkLst>
            <pc:docMk/>
            <pc:sldMk cId="3382761305" sldId="518"/>
            <ac:graphicFrameMk id="6" creationId="{00000000-0000-0000-0000-000000000000}"/>
          </ac:graphicFrameMkLst>
        </pc:graphicFrameChg>
      </pc:sldChg>
      <pc:sldChg chg="modSp">
        <pc:chgData name="Andrew Sharp" userId="53f178df-da21-4936-8a93-86de9258956d" providerId="ADAL" clId="{0C248C7E-5B4F-4D11-9379-C3CCEE5B67A0}" dt="2018-11-03T15:32:40.882" v="27183" actId="20577"/>
        <pc:sldMkLst>
          <pc:docMk/>
          <pc:sldMk cId="272968788" sldId="519"/>
        </pc:sldMkLst>
        <pc:spChg chg="mod">
          <ac:chgData name="Andrew Sharp" userId="53f178df-da21-4936-8a93-86de9258956d" providerId="ADAL" clId="{0C248C7E-5B4F-4D11-9379-C3CCEE5B67A0}" dt="2018-11-03T15:32:40.882" v="27183" actId="20577"/>
          <ac:spMkLst>
            <pc:docMk/>
            <pc:sldMk cId="272968788" sldId="519"/>
            <ac:spMk id="10" creationId="{00000000-0000-0000-0000-000000000000}"/>
          </ac:spMkLst>
        </pc:spChg>
      </pc:sldChg>
      <pc:sldChg chg="addSp delSp modSp">
        <pc:chgData name="Andrew Sharp" userId="53f178df-da21-4936-8a93-86de9258956d" providerId="ADAL" clId="{0C248C7E-5B4F-4D11-9379-C3CCEE5B67A0}" dt="2018-10-24T20:01:03.103" v="14635" actId="208"/>
        <pc:sldMkLst>
          <pc:docMk/>
          <pc:sldMk cId="1906805996" sldId="520"/>
        </pc:sldMkLst>
        <pc:spChg chg="del">
          <ac:chgData name="Andrew Sharp" userId="53f178df-da21-4936-8a93-86de9258956d" providerId="ADAL" clId="{0C248C7E-5B4F-4D11-9379-C3CCEE5B67A0}" dt="2018-10-24T17:38:14.278" v="11032" actId="478"/>
          <ac:spMkLst>
            <pc:docMk/>
            <pc:sldMk cId="1906805996" sldId="520"/>
            <ac:spMk id="3" creationId="{00000000-0000-0000-0000-000000000000}"/>
          </ac:spMkLst>
        </pc:spChg>
        <pc:spChg chg="mod">
          <ac:chgData name="Andrew Sharp" userId="53f178df-da21-4936-8a93-86de9258956d" providerId="ADAL" clId="{0C248C7E-5B4F-4D11-9379-C3CCEE5B67A0}" dt="2018-10-24T17:40:22.415" v="11054" actId="20577"/>
          <ac:spMkLst>
            <pc:docMk/>
            <pc:sldMk cId="1906805996" sldId="520"/>
            <ac:spMk id="18" creationId="{00000000-0000-0000-0000-000000000000}"/>
          </ac:spMkLst>
        </pc:spChg>
        <pc:spChg chg="mod">
          <ac:chgData name="Andrew Sharp" userId="53f178df-da21-4936-8a93-86de9258956d" providerId="ADAL" clId="{0C248C7E-5B4F-4D11-9379-C3CCEE5B67A0}" dt="2018-10-24T17:40:31.911" v="11069" actId="20577"/>
          <ac:spMkLst>
            <pc:docMk/>
            <pc:sldMk cId="1906805996" sldId="520"/>
            <ac:spMk id="19" creationId="{00000000-0000-0000-0000-000000000000}"/>
          </ac:spMkLst>
        </pc:spChg>
        <pc:spChg chg="mod ord">
          <ac:chgData name="Andrew Sharp" userId="53f178df-da21-4936-8a93-86de9258956d" providerId="ADAL" clId="{0C248C7E-5B4F-4D11-9379-C3CCEE5B67A0}" dt="2018-10-24T20:01:03.103" v="14635" actId="208"/>
          <ac:spMkLst>
            <pc:docMk/>
            <pc:sldMk cId="1906805996" sldId="520"/>
            <ac:spMk id="21" creationId="{00000000-0000-0000-0000-000000000000}"/>
          </ac:spMkLst>
        </pc:spChg>
        <pc:grpChg chg="add mod">
          <ac:chgData name="Andrew Sharp" userId="53f178df-da21-4936-8a93-86de9258956d" providerId="ADAL" clId="{0C248C7E-5B4F-4D11-9379-C3CCEE5B67A0}" dt="2018-10-24T17:39:49.972" v="11047" actId="1076"/>
          <ac:grpSpMkLst>
            <pc:docMk/>
            <pc:sldMk cId="1906805996" sldId="520"/>
            <ac:grpSpMk id="5" creationId="{90ADF62D-8667-4102-8D6A-C36091673AB0}"/>
          </ac:grpSpMkLst>
        </pc:grpChg>
        <pc:picChg chg="mod">
          <ac:chgData name="Andrew Sharp" userId="53f178df-da21-4936-8a93-86de9258956d" providerId="ADAL" clId="{0C248C7E-5B4F-4D11-9379-C3CCEE5B67A0}" dt="2018-10-24T17:39:30.710" v="11044" actId="164"/>
          <ac:picMkLst>
            <pc:docMk/>
            <pc:sldMk cId="1906805996" sldId="520"/>
            <ac:picMk id="10" creationId="{00000000-0000-0000-0000-000000000000}"/>
          </ac:picMkLst>
        </pc:picChg>
        <pc:picChg chg="add mod">
          <ac:chgData name="Andrew Sharp" userId="53f178df-da21-4936-8a93-86de9258956d" providerId="ADAL" clId="{0C248C7E-5B4F-4D11-9379-C3CCEE5B67A0}" dt="2018-10-24T17:39:46.061" v="11046" actId="1076"/>
          <ac:picMkLst>
            <pc:docMk/>
            <pc:sldMk cId="1906805996" sldId="520"/>
            <ac:picMk id="22" creationId="{C609F3F7-243B-4779-B87D-0B993183E13C}"/>
          </ac:picMkLst>
        </pc:picChg>
      </pc:sldChg>
      <pc:sldChg chg="addSp delSp modSp">
        <pc:chgData name="Andrew Sharp" userId="53f178df-da21-4936-8a93-86de9258956d" providerId="ADAL" clId="{0C248C7E-5B4F-4D11-9379-C3CCEE5B67A0}" dt="2018-11-03T15:38:01.012" v="27304"/>
        <pc:sldMkLst>
          <pc:docMk/>
          <pc:sldMk cId="3762741389" sldId="521"/>
        </pc:sldMkLst>
        <pc:spChg chg="mod">
          <ac:chgData name="Andrew Sharp" userId="53f178df-da21-4936-8a93-86de9258956d" providerId="ADAL" clId="{0C248C7E-5B4F-4D11-9379-C3CCEE5B67A0}" dt="2018-11-03T15:37:55.985" v="27303" actId="20577"/>
          <ac:spMkLst>
            <pc:docMk/>
            <pc:sldMk cId="3762741389" sldId="521"/>
            <ac:spMk id="7" creationId="{00000000-0000-0000-0000-000000000000}"/>
          </ac:spMkLst>
        </pc:spChg>
        <pc:spChg chg="mod">
          <ac:chgData name="Andrew Sharp" userId="53f178df-da21-4936-8a93-86de9258956d" providerId="ADAL" clId="{0C248C7E-5B4F-4D11-9379-C3CCEE5B67A0}" dt="2018-11-03T15:37:46.380" v="27301" actId="20577"/>
          <ac:spMkLst>
            <pc:docMk/>
            <pc:sldMk cId="3762741389" sldId="521"/>
            <ac:spMk id="9" creationId="{00000000-0000-0000-0000-000000000000}"/>
          </ac:spMkLst>
        </pc:spChg>
        <pc:spChg chg="mod">
          <ac:chgData name="Andrew Sharp" userId="53f178df-da21-4936-8a93-86de9258956d" providerId="ADAL" clId="{0C248C7E-5B4F-4D11-9379-C3CCEE5B67A0}" dt="2018-11-03T15:37:31.804" v="27257" actId="20577"/>
          <ac:spMkLst>
            <pc:docMk/>
            <pc:sldMk cId="3762741389" sldId="521"/>
            <ac:spMk id="10" creationId="{00000000-0000-0000-0000-000000000000}"/>
          </ac:spMkLst>
        </pc:spChg>
        <pc:spChg chg="mod">
          <ac:chgData name="Andrew Sharp" userId="53f178df-da21-4936-8a93-86de9258956d" providerId="ADAL" clId="{0C248C7E-5B4F-4D11-9379-C3CCEE5B67A0}" dt="2018-11-03T15:37:23.739" v="27226" actId="20577"/>
          <ac:spMkLst>
            <pc:docMk/>
            <pc:sldMk cId="3762741389" sldId="521"/>
            <ac:spMk id="12" creationId="{00000000-0000-0000-0000-000000000000}"/>
          </ac:spMkLst>
        </pc:spChg>
        <pc:grpChg chg="add del">
          <ac:chgData name="Andrew Sharp" userId="53f178df-da21-4936-8a93-86de9258956d" providerId="ADAL" clId="{0C248C7E-5B4F-4D11-9379-C3CCEE5B67A0}" dt="2018-11-03T15:38:01.012" v="27304"/>
          <ac:grpSpMkLst>
            <pc:docMk/>
            <pc:sldMk cId="3762741389" sldId="521"/>
            <ac:grpSpMk id="20" creationId="{75ED7DD2-4D3F-42E6-951D-4D4D6069D7C4}"/>
          </ac:grpSpMkLst>
        </pc:grpChg>
        <pc:graphicFrameChg chg="modGraphic">
          <ac:chgData name="Andrew Sharp" userId="53f178df-da21-4936-8a93-86de9258956d" providerId="ADAL" clId="{0C248C7E-5B4F-4D11-9379-C3CCEE5B67A0}" dt="2018-10-24T17:40:52.055" v="11070" actId="20577"/>
          <ac:graphicFrameMkLst>
            <pc:docMk/>
            <pc:sldMk cId="3762741389" sldId="521"/>
            <ac:graphicFrameMk id="11" creationId="{00000000-0000-0000-0000-000000000000}"/>
          </ac:graphicFrameMkLst>
        </pc:graphicFrameChg>
      </pc:sldChg>
      <pc:sldChg chg="addSp delSp modSp">
        <pc:chgData name="Andrew Sharp" userId="53f178df-da21-4936-8a93-86de9258956d" providerId="ADAL" clId="{0C248C7E-5B4F-4D11-9379-C3CCEE5B67A0}" dt="2018-11-03T15:39:46.398" v="27547"/>
        <pc:sldMkLst>
          <pc:docMk/>
          <pc:sldMk cId="4078001656" sldId="522"/>
        </pc:sldMkLst>
        <pc:spChg chg="mod">
          <ac:chgData name="Andrew Sharp" userId="53f178df-da21-4936-8a93-86de9258956d" providerId="ADAL" clId="{0C248C7E-5B4F-4D11-9379-C3CCEE5B67A0}" dt="2018-11-03T15:38:59.927" v="27430" actId="20577"/>
          <ac:spMkLst>
            <pc:docMk/>
            <pc:sldMk cId="4078001656" sldId="522"/>
            <ac:spMk id="2" creationId="{00000000-0000-0000-0000-000000000000}"/>
          </ac:spMkLst>
        </pc:spChg>
        <pc:spChg chg="mod">
          <ac:chgData name="Andrew Sharp" userId="53f178df-da21-4936-8a93-86de9258956d" providerId="ADAL" clId="{0C248C7E-5B4F-4D11-9379-C3CCEE5B67A0}" dt="2018-11-03T15:38:48.632" v="27428" actId="20577"/>
          <ac:spMkLst>
            <pc:docMk/>
            <pc:sldMk cId="4078001656" sldId="522"/>
            <ac:spMk id="4" creationId="{00000000-0000-0000-0000-000000000000}"/>
          </ac:spMkLst>
        </pc:spChg>
        <pc:spChg chg="mod">
          <ac:chgData name="Andrew Sharp" userId="53f178df-da21-4936-8a93-86de9258956d" providerId="ADAL" clId="{0C248C7E-5B4F-4D11-9379-C3CCEE5B67A0}" dt="2018-11-03T15:38:37.991" v="27394" actId="20577"/>
          <ac:spMkLst>
            <pc:docMk/>
            <pc:sldMk cId="4078001656" sldId="522"/>
            <ac:spMk id="5" creationId="{00000000-0000-0000-0000-000000000000}"/>
          </ac:spMkLst>
        </pc:spChg>
        <pc:spChg chg="mod">
          <ac:chgData name="Andrew Sharp" userId="53f178df-da21-4936-8a93-86de9258956d" providerId="ADAL" clId="{0C248C7E-5B4F-4D11-9379-C3CCEE5B67A0}" dt="2018-11-03T15:38:20.443" v="27363" actId="20577"/>
          <ac:spMkLst>
            <pc:docMk/>
            <pc:sldMk cId="4078001656" sldId="522"/>
            <ac:spMk id="7" creationId="{00000000-0000-0000-0000-000000000000}"/>
          </ac:spMkLst>
        </pc:spChg>
        <pc:grpChg chg="add del mod">
          <ac:chgData name="Andrew Sharp" userId="53f178df-da21-4936-8a93-86de9258956d" providerId="ADAL" clId="{0C248C7E-5B4F-4D11-9379-C3CCEE5B67A0}" dt="2018-11-03T15:39:46.398" v="27547"/>
          <ac:grpSpMkLst>
            <pc:docMk/>
            <pc:sldMk cId="4078001656" sldId="522"/>
            <ac:grpSpMk id="15" creationId="{D77E0DE1-6EFA-42A6-B4CE-DD5BF9BDEFE8}"/>
          </ac:grpSpMkLst>
        </pc:grpChg>
        <pc:graphicFrameChg chg="modGraphic">
          <ac:chgData name="Andrew Sharp" userId="53f178df-da21-4936-8a93-86de9258956d" providerId="ADAL" clId="{0C248C7E-5B4F-4D11-9379-C3CCEE5B67A0}" dt="2018-11-03T15:39:44.068" v="27546" actId="20577"/>
          <ac:graphicFrameMkLst>
            <pc:docMk/>
            <pc:sldMk cId="4078001656" sldId="522"/>
            <ac:graphicFrameMk id="6" creationId="{00000000-0000-0000-0000-000000000000}"/>
          </ac:graphicFrameMkLst>
        </pc:graphicFrameChg>
      </pc:sldChg>
      <pc:sldChg chg="addSp delSp modSp">
        <pc:chgData name="Andrew Sharp" userId="53f178df-da21-4936-8a93-86de9258956d" providerId="ADAL" clId="{0C248C7E-5B4F-4D11-9379-C3CCEE5B67A0}" dt="2018-11-03T15:40:52.100" v="27707" actId="20577"/>
        <pc:sldMkLst>
          <pc:docMk/>
          <pc:sldMk cId="2225352579" sldId="523"/>
        </pc:sldMkLst>
        <pc:spChg chg="mod">
          <ac:chgData name="Andrew Sharp" userId="53f178df-da21-4936-8a93-86de9258956d" providerId="ADAL" clId="{0C248C7E-5B4F-4D11-9379-C3CCEE5B67A0}" dt="2018-11-03T15:40:52.100" v="27707" actId="20577"/>
          <ac:spMkLst>
            <pc:docMk/>
            <pc:sldMk cId="2225352579" sldId="523"/>
            <ac:spMk id="2" creationId="{00000000-0000-0000-0000-000000000000}"/>
          </ac:spMkLst>
        </pc:spChg>
        <pc:spChg chg="mod">
          <ac:chgData name="Andrew Sharp" userId="53f178df-da21-4936-8a93-86de9258956d" providerId="ADAL" clId="{0C248C7E-5B4F-4D11-9379-C3CCEE5B67A0}" dt="2018-11-03T15:40:14.037" v="27626" actId="20577"/>
          <ac:spMkLst>
            <pc:docMk/>
            <pc:sldMk cId="2225352579" sldId="523"/>
            <ac:spMk id="3" creationId="{00000000-0000-0000-0000-000000000000}"/>
          </ac:spMkLst>
        </pc:spChg>
        <pc:spChg chg="mod">
          <ac:chgData name="Andrew Sharp" userId="53f178df-da21-4936-8a93-86de9258956d" providerId="ADAL" clId="{0C248C7E-5B4F-4D11-9379-C3CCEE5B67A0}" dt="2018-11-03T15:40:33.677" v="27676" actId="20577"/>
          <ac:spMkLst>
            <pc:docMk/>
            <pc:sldMk cId="2225352579" sldId="523"/>
            <ac:spMk id="5" creationId="{00000000-0000-0000-0000-000000000000}"/>
          </ac:spMkLst>
        </pc:spChg>
        <pc:spChg chg="mod">
          <ac:chgData name="Andrew Sharp" userId="53f178df-da21-4936-8a93-86de9258956d" providerId="ADAL" clId="{0C248C7E-5B4F-4D11-9379-C3CCEE5B67A0}" dt="2018-11-03T15:40:03.962" v="27588" actId="20577"/>
          <ac:spMkLst>
            <pc:docMk/>
            <pc:sldMk cId="2225352579" sldId="523"/>
            <ac:spMk id="12" creationId="{00000000-0000-0000-0000-000000000000}"/>
          </ac:spMkLst>
        </pc:spChg>
        <pc:grpChg chg="add del">
          <ac:chgData name="Andrew Sharp" userId="53f178df-da21-4936-8a93-86de9258956d" providerId="ADAL" clId="{0C248C7E-5B4F-4D11-9379-C3CCEE5B67A0}" dt="2018-11-03T15:40:43.365" v="27677"/>
          <ac:grpSpMkLst>
            <pc:docMk/>
            <pc:sldMk cId="2225352579" sldId="523"/>
            <ac:grpSpMk id="15" creationId="{0D867E5F-377E-4384-8BCE-9039D46EC98E}"/>
          </ac:grpSpMkLst>
        </pc:grpChg>
      </pc:sldChg>
      <pc:sldChg chg="addSp modSp">
        <pc:chgData name="Andrew Sharp" userId="53f178df-da21-4936-8a93-86de9258956d" providerId="ADAL" clId="{0C248C7E-5B4F-4D11-9379-C3CCEE5B67A0}" dt="2018-10-26T20:47:22.482" v="24958" actId="6549"/>
        <pc:sldMkLst>
          <pc:docMk/>
          <pc:sldMk cId="1150427287" sldId="524"/>
        </pc:sldMkLst>
        <pc:spChg chg="mod">
          <ac:chgData name="Andrew Sharp" userId="53f178df-da21-4936-8a93-86de9258956d" providerId="ADAL" clId="{0C248C7E-5B4F-4D11-9379-C3CCEE5B67A0}" dt="2018-10-26T20:23:46.191" v="24865" actId="164"/>
          <ac:spMkLst>
            <pc:docMk/>
            <pc:sldMk cId="1150427287" sldId="524"/>
            <ac:spMk id="5" creationId="{00000000-0000-0000-0000-000000000000}"/>
          </ac:spMkLst>
        </pc:spChg>
        <pc:spChg chg="mod">
          <ac:chgData name="Andrew Sharp" userId="53f178df-da21-4936-8a93-86de9258956d" providerId="ADAL" clId="{0C248C7E-5B4F-4D11-9379-C3CCEE5B67A0}" dt="2018-10-26T20:23:46.191" v="24865" actId="164"/>
          <ac:spMkLst>
            <pc:docMk/>
            <pc:sldMk cId="1150427287" sldId="524"/>
            <ac:spMk id="6" creationId="{00000000-0000-0000-0000-000000000000}"/>
          </ac:spMkLst>
        </pc:spChg>
        <pc:spChg chg="mod">
          <ac:chgData name="Andrew Sharp" userId="53f178df-da21-4936-8a93-86de9258956d" providerId="ADAL" clId="{0C248C7E-5B4F-4D11-9379-C3CCEE5B67A0}" dt="2018-10-26T20:23:46.191" v="24865" actId="164"/>
          <ac:spMkLst>
            <pc:docMk/>
            <pc:sldMk cId="1150427287" sldId="524"/>
            <ac:spMk id="7" creationId="{00000000-0000-0000-0000-000000000000}"/>
          </ac:spMkLst>
        </pc:spChg>
        <pc:spChg chg="mod">
          <ac:chgData name="Andrew Sharp" userId="53f178df-da21-4936-8a93-86de9258956d" providerId="ADAL" clId="{0C248C7E-5B4F-4D11-9379-C3CCEE5B67A0}" dt="2018-10-26T20:23:46.191" v="24865" actId="164"/>
          <ac:spMkLst>
            <pc:docMk/>
            <pc:sldMk cId="1150427287" sldId="524"/>
            <ac:spMk id="12" creationId="{00000000-0000-0000-0000-000000000000}"/>
          </ac:spMkLst>
        </pc:spChg>
        <pc:spChg chg="mod">
          <ac:chgData name="Andrew Sharp" userId="53f178df-da21-4936-8a93-86de9258956d" providerId="ADAL" clId="{0C248C7E-5B4F-4D11-9379-C3CCEE5B67A0}" dt="2018-10-26T20:23:46.191" v="24865" actId="164"/>
          <ac:spMkLst>
            <pc:docMk/>
            <pc:sldMk cId="1150427287" sldId="524"/>
            <ac:spMk id="13" creationId="{00000000-0000-0000-0000-000000000000}"/>
          </ac:spMkLst>
        </pc:spChg>
        <pc:spChg chg="mod">
          <ac:chgData name="Andrew Sharp" userId="53f178df-da21-4936-8a93-86de9258956d" providerId="ADAL" clId="{0C248C7E-5B4F-4D11-9379-C3CCEE5B67A0}" dt="2018-10-26T20:23:46.191" v="24865" actId="164"/>
          <ac:spMkLst>
            <pc:docMk/>
            <pc:sldMk cId="1150427287" sldId="524"/>
            <ac:spMk id="14" creationId="{00000000-0000-0000-0000-000000000000}"/>
          </ac:spMkLst>
        </pc:spChg>
        <pc:spChg chg="mod">
          <ac:chgData name="Andrew Sharp" userId="53f178df-da21-4936-8a93-86de9258956d" providerId="ADAL" clId="{0C248C7E-5B4F-4D11-9379-C3CCEE5B67A0}" dt="2018-10-26T20:23:46.191" v="24865" actId="164"/>
          <ac:spMkLst>
            <pc:docMk/>
            <pc:sldMk cId="1150427287" sldId="524"/>
            <ac:spMk id="15" creationId="{00000000-0000-0000-0000-000000000000}"/>
          </ac:spMkLst>
        </pc:spChg>
        <pc:spChg chg="mod">
          <ac:chgData name="Andrew Sharp" userId="53f178df-da21-4936-8a93-86de9258956d" providerId="ADAL" clId="{0C248C7E-5B4F-4D11-9379-C3CCEE5B67A0}" dt="2018-10-26T20:46:55.808" v="24901" actId="1076"/>
          <ac:spMkLst>
            <pc:docMk/>
            <pc:sldMk cId="1150427287" sldId="524"/>
            <ac:spMk id="16" creationId="{00000000-0000-0000-0000-000000000000}"/>
          </ac:spMkLst>
        </pc:spChg>
        <pc:spChg chg="mod">
          <ac:chgData name="Andrew Sharp" userId="53f178df-da21-4936-8a93-86de9258956d" providerId="ADAL" clId="{0C248C7E-5B4F-4D11-9379-C3CCEE5B67A0}" dt="2018-10-26T20:23:46.191" v="24865" actId="164"/>
          <ac:spMkLst>
            <pc:docMk/>
            <pc:sldMk cId="1150427287" sldId="524"/>
            <ac:spMk id="17" creationId="{00000000-0000-0000-0000-000000000000}"/>
          </ac:spMkLst>
        </pc:spChg>
        <pc:spChg chg="mod">
          <ac:chgData name="Andrew Sharp" userId="53f178df-da21-4936-8a93-86de9258956d" providerId="ADAL" clId="{0C248C7E-5B4F-4D11-9379-C3CCEE5B67A0}" dt="2018-10-26T20:23:46.191" v="24865" actId="164"/>
          <ac:spMkLst>
            <pc:docMk/>
            <pc:sldMk cId="1150427287" sldId="524"/>
            <ac:spMk id="18" creationId="{00000000-0000-0000-0000-000000000000}"/>
          </ac:spMkLst>
        </pc:spChg>
        <pc:spChg chg="mod">
          <ac:chgData name="Andrew Sharp" userId="53f178df-da21-4936-8a93-86de9258956d" providerId="ADAL" clId="{0C248C7E-5B4F-4D11-9379-C3CCEE5B67A0}" dt="2018-10-26T20:23:46.191" v="24865" actId="164"/>
          <ac:spMkLst>
            <pc:docMk/>
            <pc:sldMk cId="1150427287" sldId="524"/>
            <ac:spMk id="23" creationId="{00000000-0000-0000-0000-000000000000}"/>
          </ac:spMkLst>
        </pc:spChg>
        <pc:spChg chg="mod">
          <ac:chgData name="Andrew Sharp" userId="53f178df-da21-4936-8a93-86de9258956d" providerId="ADAL" clId="{0C248C7E-5B4F-4D11-9379-C3CCEE5B67A0}" dt="2018-10-26T20:46:52.512" v="24900" actId="1076"/>
          <ac:spMkLst>
            <pc:docMk/>
            <pc:sldMk cId="1150427287" sldId="524"/>
            <ac:spMk id="24" creationId="{00000000-0000-0000-0000-000000000000}"/>
          </ac:spMkLst>
        </pc:spChg>
        <pc:spChg chg="mod">
          <ac:chgData name="Andrew Sharp" userId="53f178df-da21-4936-8a93-86de9258956d" providerId="ADAL" clId="{0C248C7E-5B4F-4D11-9379-C3CCEE5B67A0}" dt="2018-10-26T20:23:46.191" v="24865" actId="164"/>
          <ac:spMkLst>
            <pc:docMk/>
            <pc:sldMk cId="1150427287" sldId="524"/>
            <ac:spMk id="25" creationId="{00000000-0000-0000-0000-000000000000}"/>
          </ac:spMkLst>
        </pc:spChg>
        <pc:spChg chg="mod">
          <ac:chgData name="Andrew Sharp" userId="53f178df-da21-4936-8a93-86de9258956d" providerId="ADAL" clId="{0C248C7E-5B4F-4D11-9379-C3CCEE5B67A0}" dt="2018-10-26T20:23:46.191" v="24865" actId="164"/>
          <ac:spMkLst>
            <pc:docMk/>
            <pc:sldMk cId="1150427287" sldId="524"/>
            <ac:spMk id="26" creationId="{00000000-0000-0000-0000-000000000000}"/>
          </ac:spMkLst>
        </pc:spChg>
        <pc:spChg chg="mod">
          <ac:chgData name="Andrew Sharp" userId="53f178df-da21-4936-8a93-86de9258956d" providerId="ADAL" clId="{0C248C7E-5B4F-4D11-9379-C3CCEE5B67A0}" dt="2018-10-26T20:23:46.191" v="24865" actId="164"/>
          <ac:spMkLst>
            <pc:docMk/>
            <pc:sldMk cId="1150427287" sldId="524"/>
            <ac:spMk id="27" creationId="{00000000-0000-0000-0000-000000000000}"/>
          </ac:spMkLst>
        </pc:spChg>
        <pc:spChg chg="mod">
          <ac:chgData name="Andrew Sharp" userId="53f178df-da21-4936-8a93-86de9258956d" providerId="ADAL" clId="{0C248C7E-5B4F-4D11-9379-C3CCEE5B67A0}" dt="2018-10-26T20:23:46.191" v="24865" actId="164"/>
          <ac:spMkLst>
            <pc:docMk/>
            <pc:sldMk cId="1150427287" sldId="524"/>
            <ac:spMk id="28" creationId="{00000000-0000-0000-0000-000000000000}"/>
          </ac:spMkLst>
        </pc:spChg>
        <pc:spChg chg="mod">
          <ac:chgData name="Andrew Sharp" userId="53f178df-da21-4936-8a93-86de9258956d" providerId="ADAL" clId="{0C248C7E-5B4F-4D11-9379-C3CCEE5B67A0}" dt="2018-10-26T20:23:46.191" v="24865" actId="164"/>
          <ac:spMkLst>
            <pc:docMk/>
            <pc:sldMk cId="1150427287" sldId="524"/>
            <ac:spMk id="29" creationId="{00000000-0000-0000-0000-000000000000}"/>
          </ac:spMkLst>
        </pc:spChg>
        <pc:spChg chg="mod">
          <ac:chgData name="Andrew Sharp" userId="53f178df-da21-4936-8a93-86de9258956d" providerId="ADAL" clId="{0C248C7E-5B4F-4D11-9379-C3CCEE5B67A0}" dt="2018-10-26T20:47:22.482" v="24958" actId="6549"/>
          <ac:spMkLst>
            <pc:docMk/>
            <pc:sldMk cId="1150427287" sldId="524"/>
            <ac:spMk id="32" creationId="{EED3272C-2B2E-436B-81DF-F635425AB145}"/>
          </ac:spMkLst>
        </pc:spChg>
        <pc:grpChg chg="add mod">
          <ac:chgData name="Andrew Sharp" userId="53f178df-da21-4936-8a93-86de9258956d" providerId="ADAL" clId="{0C248C7E-5B4F-4D11-9379-C3CCEE5B67A0}" dt="2018-10-26T20:46:36.588" v="24899" actId="1036"/>
          <ac:grpSpMkLst>
            <pc:docMk/>
            <pc:sldMk cId="1150427287" sldId="524"/>
            <ac:grpSpMk id="3" creationId="{B99C590D-998E-42C4-B7E5-F50745F96E5D}"/>
          </ac:grpSpMkLst>
        </pc:grpChg>
        <pc:grpChg chg="add mod">
          <ac:chgData name="Andrew Sharp" userId="53f178df-da21-4936-8a93-86de9258956d" providerId="ADAL" clId="{0C248C7E-5B4F-4D11-9379-C3CCEE5B67A0}" dt="2018-10-26T20:23:52.854" v="24881" actId="1035"/>
          <ac:grpSpMkLst>
            <pc:docMk/>
            <pc:sldMk cId="1150427287" sldId="524"/>
            <ac:grpSpMk id="31" creationId="{E609A004-DEE2-468E-8AF0-12FEA66F0558}"/>
          </ac:grpSpMkLst>
        </pc:grpChg>
        <pc:graphicFrameChg chg="mod">
          <ac:chgData name="Andrew Sharp" userId="53f178df-da21-4936-8a93-86de9258956d" providerId="ADAL" clId="{0C248C7E-5B4F-4D11-9379-C3CCEE5B67A0}" dt="2018-10-26T20:46:09.481" v="24883" actId="14100"/>
          <ac:graphicFrameMkLst>
            <pc:docMk/>
            <pc:sldMk cId="1150427287" sldId="524"/>
            <ac:graphicFrameMk id="8" creationId="{00000000-0000-0000-0000-000000000000}"/>
          </ac:graphicFrameMkLst>
        </pc:graphicFrameChg>
        <pc:graphicFrameChg chg="mod">
          <ac:chgData name="Andrew Sharp" userId="53f178df-da21-4936-8a93-86de9258956d" providerId="ADAL" clId="{0C248C7E-5B4F-4D11-9379-C3CCEE5B67A0}" dt="2018-10-26T20:46:13.871" v="24884" actId="14100"/>
          <ac:graphicFrameMkLst>
            <pc:docMk/>
            <pc:sldMk cId="1150427287" sldId="524"/>
            <ac:graphicFrameMk id="19" creationId="{00000000-0000-0000-0000-000000000000}"/>
          </ac:graphicFrameMkLst>
        </pc:graphicFrameChg>
        <pc:picChg chg="mod">
          <ac:chgData name="Andrew Sharp" userId="53f178df-da21-4936-8a93-86de9258956d" providerId="ADAL" clId="{0C248C7E-5B4F-4D11-9379-C3CCEE5B67A0}" dt="2018-10-26T20:23:26.084" v="24858" actId="14100"/>
          <ac:picMkLst>
            <pc:docMk/>
            <pc:sldMk cId="1150427287" sldId="524"/>
            <ac:picMk id="33" creationId="{FDA2D92C-1DD8-4A0B-922A-309E90AAE997}"/>
          </ac:picMkLst>
        </pc:picChg>
        <pc:cxnChg chg="mod">
          <ac:chgData name="Andrew Sharp" userId="53f178df-da21-4936-8a93-86de9258956d" providerId="ADAL" clId="{0C248C7E-5B4F-4D11-9379-C3CCEE5B67A0}" dt="2018-10-26T20:23:46.191" v="24865" actId="164"/>
          <ac:cxnSpMkLst>
            <pc:docMk/>
            <pc:sldMk cId="1150427287" sldId="524"/>
            <ac:cxnSpMk id="9" creationId="{00000000-0000-0000-0000-000000000000}"/>
          </ac:cxnSpMkLst>
        </pc:cxnChg>
        <pc:cxnChg chg="mod">
          <ac:chgData name="Andrew Sharp" userId="53f178df-da21-4936-8a93-86de9258956d" providerId="ADAL" clId="{0C248C7E-5B4F-4D11-9379-C3CCEE5B67A0}" dt="2018-10-26T20:23:46.191" v="24865" actId="164"/>
          <ac:cxnSpMkLst>
            <pc:docMk/>
            <pc:sldMk cId="1150427287" sldId="524"/>
            <ac:cxnSpMk id="10" creationId="{00000000-0000-0000-0000-000000000000}"/>
          </ac:cxnSpMkLst>
        </pc:cxnChg>
        <pc:cxnChg chg="mod">
          <ac:chgData name="Andrew Sharp" userId="53f178df-da21-4936-8a93-86de9258956d" providerId="ADAL" clId="{0C248C7E-5B4F-4D11-9379-C3CCEE5B67A0}" dt="2018-10-26T20:23:46.191" v="24865" actId="164"/>
          <ac:cxnSpMkLst>
            <pc:docMk/>
            <pc:sldMk cId="1150427287" sldId="524"/>
            <ac:cxnSpMk id="11" creationId="{00000000-0000-0000-0000-000000000000}"/>
          </ac:cxnSpMkLst>
        </pc:cxnChg>
        <pc:cxnChg chg="mod">
          <ac:chgData name="Andrew Sharp" userId="53f178df-da21-4936-8a93-86de9258956d" providerId="ADAL" clId="{0C248C7E-5B4F-4D11-9379-C3CCEE5B67A0}" dt="2018-10-26T20:23:46.191" v="24865" actId="164"/>
          <ac:cxnSpMkLst>
            <pc:docMk/>
            <pc:sldMk cId="1150427287" sldId="524"/>
            <ac:cxnSpMk id="20" creationId="{00000000-0000-0000-0000-000000000000}"/>
          </ac:cxnSpMkLst>
        </pc:cxnChg>
        <pc:cxnChg chg="mod">
          <ac:chgData name="Andrew Sharp" userId="53f178df-da21-4936-8a93-86de9258956d" providerId="ADAL" clId="{0C248C7E-5B4F-4D11-9379-C3CCEE5B67A0}" dt="2018-10-26T20:23:46.191" v="24865" actId="164"/>
          <ac:cxnSpMkLst>
            <pc:docMk/>
            <pc:sldMk cId="1150427287" sldId="524"/>
            <ac:cxnSpMk id="21" creationId="{00000000-0000-0000-0000-000000000000}"/>
          </ac:cxnSpMkLst>
        </pc:cxnChg>
        <pc:cxnChg chg="mod">
          <ac:chgData name="Andrew Sharp" userId="53f178df-da21-4936-8a93-86de9258956d" providerId="ADAL" clId="{0C248C7E-5B4F-4D11-9379-C3CCEE5B67A0}" dt="2018-10-26T20:23:46.191" v="24865" actId="164"/>
          <ac:cxnSpMkLst>
            <pc:docMk/>
            <pc:sldMk cId="1150427287" sldId="524"/>
            <ac:cxnSpMk id="22" creationId="{00000000-0000-0000-0000-000000000000}"/>
          </ac:cxnSpMkLst>
        </pc:cxnChg>
      </pc:sldChg>
      <pc:sldChg chg="modSp delCm">
        <pc:chgData name="Andrew Sharp" userId="53f178df-da21-4936-8a93-86de9258956d" providerId="ADAL" clId="{0C248C7E-5B4F-4D11-9379-C3CCEE5B67A0}" dt="2018-11-08T18:32:20.692" v="41096" actId="1592"/>
        <pc:sldMkLst>
          <pc:docMk/>
          <pc:sldMk cId="197948348" sldId="526"/>
        </pc:sldMkLst>
        <pc:spChg chg="mod">
          <ac:chgData name="Andrew Sharp" userId="53f178df-da21-4936-8a93-86de9258956d" providerId="ADAL" clId="{0C248C7E-5B4F-4D11-9379-C3CCEE5B67A0}" dt="2018-10-19T20:15:12.556" v="7235" actId="20577"/>
          <ac:spMkLst>
            <pc:docMk/>
            <pc:sldMk cId="197948348" sldId="526"/>
            <ac:spMk id="2" creationId="{00000000-0000-0000-0000-000000000000}"/>
          </ac:spMkLst>
        </pc:spChg>
        <pc:spChg chg="mod">
          <ac:chgData name="Andrew Sharp" userId="53f178df-da21-4936-8a93-86de9258956d" providerId="ADAL" clId="{0C248C7E-5B4F-4D11-9379-C3CCEE5B67A0}" dt="2018-10-22T13:32:49.645" v="8781" actId="1076"/>
          <ac:spMkLst>
            <pc:docMk/>
            <pc:sldMk cId="197948348" sldId="526"/>
            <ac:spMk id="10" creationId="{00000000-0000-0000-0000-000000000000}"/>
          </ac:spMkLst>
        </pc:spChg>
        <pc:picChg chg="mod">
          <ac:chgData name="Andrew Sharp" userId="53f178df-da21-4936-8a93-86de9258956d" providerId="ADAL" clId="{0C248C7E-5B4F-4D11-9379-C3CCEE5B67A0}" dt="2018-10-19T20:07:33.657" v="6607" actId="14100"/>
          <ac:picMkLst>
            <pc:docMk/>
            <pc:sldMk cId="197948348" sldId="526"/>
            <ac:picMk id="11" creationId="{00000000-0000-0000-0000-000000000000}"/>
          </ac:picMkLst>
        </pc:picChg>
      </pc:sldChg>
      <pc:sldChg chg="addSp delSp modSp addCm delCm modCm">
        <pc:chgData name="Andrew Sharp" userId="53f178df-da21-4936-8a93-86de9258956d" providerId="ADAL" clId="{0C248C7E-5B4F-4D11-9379-C3CCEE5B67A0}" dt="2018-11-08T18:39:58.203" v="41293" actId="1592"/>
        <pc:sldMkLst>
          <pc:docMk/>
          <pc:sldMk cId="845456584" sldId="538"/>
        </pc:sldMkLst>
        <pc:spChg chg="mod">
          <ac:chgData name="Andrew Sharp" userId="53f178df-da21-4936-8a93-86de9258956d" providerId="ADAL" clId="{0C248C7E-5B4F-4D11-9379-C3CCEE5B67A0}" dt="2018-10-24T20:39:50.975" v="15451" actId="20577"/>
          <ac:spMkLst>
            <pc:docMk/>
            <pc:sldMk cId="845456584" sldId="538"/>
            <ac:spMk id="7" creationId="{00000000-0000-0000-0000-000000000000}"/>
          </ac:spMkLst>
        </pc:spChg>
        <pc:spChg chg="mod">
          <ac:chgData name="Andrew Sharp" userId="53f178df-da21-4936-8a93-86de9258956d" providerId="ADAL" clId="{0C248C7E-5B4F-4D11-9379-C3CCEE5B67A0}" dt="2018-11-03T15:41:46.319" v="27727" actId="20577"/>
          <ac:spMkLst>
            <pc:docMk/>
            <pc:sldMk cId="845456584" sldId="538"/>
            <ac:spMk id="9" creationId="{00000000-0000-0000-0000-000000000000}"/>
          </ac:spMkLst>
        </pc:spChg>
        <pc:spChg chg="mod">
          <ac:chgData name="Andrew Sharp" userId="53f178df-da21-4936-8a93-86de9258956d" providerId="ADAL" clId="{0C248C7E-5B4F-4D11-9379-C3CCEE5B67A0}" dt="2018-10-24T20:10:47.644" v="14750" actId="20577"/>
          <ac:spMkLst>
            <pc:docMk/>
            <pc:sldMk cId="845456584" sldId="538"/>
            <ac:spMk id="12" creationId="{00000000-0000-0000-0000-000000000000}"/>
          </ac:spMkLst>
        </pc:spChg>
        <pc:spChg chg="mod">
          <ac:chgData name="Andrew Sharp" userId="53f178df-da21-4936-8a93-86de9258956d" providerId="ADAL" clId="{0C248C7E-5B4F-4D11-9379-C3CCEE5B67A0}" dt="2018-10-24T20:39:48.097" v="15443" actId="20577"/>
          <ac:spMkLst>
            <pc:docMk/>
            <pc:sldMk cId="845456584" sldId="538"/>
            <ac:spMk id="16" creationId="{00000000-0000-0000-0000-000000000000}"/>
          </ac:spMkLst>
        </pc:spChg>
        <pc:spChg chg="add del">
          <ac:chgData name="Andrew Sharp" userId="53f178df-da21-4936-8a93-86de9258956d" providerId="ADAL" clId="{0C248C7E-5B4F-4D11-9379-C3CCEE5B67A0}" dt="2018-10-24T20:39:40.739" v="15435"/>
          <ac:spMkLst>
            <pc:docMk/>
            <pc:sldMk cId="845456584" sldId="538"/>
            <ac:spMk id="20" creationId="{7FCDCD2D-A6B0-4DFC-96B0-83A4C018F109}"/>
          </ac:spMkLst>
        </pc:spChg>
        <pc:spChg chg="add del">
          <ac:chgData name="Andrew Sharp" userId="53f178df-da21-4936-8a93-86de9258956d" providerId="ADAL" clId="{0C248C7E-5B4F-4D11-9379-C3CCEE5B67A0}" dt="2018-10-24T20:39:40.739" v="15435"/>
          <ac:spMkLst>
            <pc:docMk/>
            <pc:sldMk cId="845456584" sldId="538"/>
            <ac:spMk id="21" creationId="{AC26FF73-F585-4708-99D2-3FAA33D33AE0}"/>
          </ac:spMkLst>
        </pc:spChg>
        <pc:spChg chg="add del">
          <ac:chgData name="Andrew Sharp" userId="53f178df-da21-4936-8a93-86de9258956d" providerId="ADAL" clId="{0C248C7E-5B4F-4D11-9379-C3CCEE5B67A0}" dt="2018-10-24T20:39:40.739" v="15435"/>
          <ac:spMkLst>
            <pc:docMk/>
            <pc:sldMk cId="845456584" sldId="538"/>
            <ac:spMk id="22" creationId="{5AEC449E-B312-48E3-B5C2-9567B5A942E5}"/>
          </ac:spMkLst>
        </pc:spChg>
        <pc:spChg chg="add del">
          <ac:chgData name="Andrew Sharp" userId="53f178df-da21-4936-8a93-86de9258956d" providerId="ADAL" clId="{0C248C7E-5B4F-4D11-9379-C3CCEE5B67A0}" dt="2018-10-24T20:39:40.739" v="15435"/>
          <ac:spMkLst>
            <pc:docMk/>
            <pc:sldMk cId="845456584" sldId="538"/>
            <ac:spMk id="23" creationId="{A6C4BBB9-682E-4894-ABAE-941A71C1A9FC}"/>
          </ac:spMkLst>
        </pc:spChg>
        <pc:grpChg chg="add del">
          <ac:chgData name="Andrew Sharp" userId="53f178df-da21-4936-8a93-86de9258956d" providerId="ADAL" clId="{0C248C7E-5B4F-4D11-9379-C3CCEE5B67A0}" dt="2018-11-03T15:41:05.693" v="27709"/>
          <ac:grpSpMkLst>
            <pc:docMk/>
            <pc:sldMk cId="845456584" sldId="538"/>
            <ac:grpSpMk id="20" creationId="{4A120A7C-998B-4376-8963-1D1CD165B90F}"/>
          </ac:grpSpMkLst>
        </pc:grpChg>
        <pc:grpChg chg="add del">
          <ac:chgData name="Andrew Sharp" userId="53f178df-da21-4936-8a93-86de9258956d" providerId="ADAL" clId="{0C248C7E-5B4F-4D11-9379-C3CCEE5B67A0}" dt="2018-11-03T15:41:50.568" v="27729"/>
          <ac:grpSpMkLst>
            <pc:docMk/>
            <pc:sldMk cId="845456584" sldId="538"/>
            <ac:grpSpMk id="55" creationId="{DF07666F-B773-4E7F-A718-68686719F1FA}"/>
          </ac:grpSpMkLst>
        </pc:grpChg>
        <pc:graphicFrameChg chg="mod modGraphic">
          <ac:chgData name="Andrew Sharp" userId="53f178df-da21-4936-8a93-86de9258956d" providerId="ADAL" clId="{0C248C7E-5B4F-4D11-9379-C3CCEE5B67A0}" dt="2018-10-24T20:06:24.243" v="14742" actId="1076"/>
          <ac:graphicFrameMkLst>
            <pc:docMk/>
            <pc:sldMk cId="845456584" sldId="538"/>
            <ac:graphicFrameMk id="11" creationId="{00000000-0000-0000-0000-000000000000}"/>
          </ac:graphicFrameMkLst>
        </pc:graphicFrameChg>
      </pc:sldChg>
      <pc:sldChg chg="addSp delSp modSp delCm">
        <pc:chgData name="Andrew Sharp" userId="53f178df-da21-4936-8a93-86de9258956d" providerId="ADAL" clId="{0C248C7E-5B4F-4D11-9379-C3CCEE5B67A0}" dt="2018-11-08T18:47:45.010" v="41596" actId="1592"/>
        <pc:sldMkLst>
          <pc:docMk/>
          <pc:sldMk cId="4243194647" sldId="539"/>
        </pc:sldMkLst>
        <pc:spChg chg="mod">
          <ac:chgData name="Andrew Sharp" userId="53f178df-da21-4936-8a93-86de9258956d" providerId="ADAL" clId="{0C248C7E-5B4F-4D11-9379-C3CCEE5B67A0}" dt="2018-11-03T15:42:00.708" v="27737" actId="20577"/>
          <ac:spMkLst>
            <pc:docMk/>
            <pc:sldMk cId="4243194647" sldId="539"/>
            <ac:spMk id="4" creationId="{00000000-0000-0000-0000-000000000000}"/>
          </ac:spMkLst>
        </pc:spChg>
        <pc:spChg chg="mod">
          <ac:chgData name="Andrew Sharp" userId="53f178df-da21-4936-8a93-86de9258956d" providerId="ADAL" clId="{0C248C7E-5B4F-4D11-9379-C3CCEE5B67A0}" dt="2018-10-24T20:40:03.222" v="15459" actId="20577"/>
          <ac:spMkLst>
            <pc:docMk/>
            <pc:sldMk cId="4243194647" sldId="539"/>
            <ac:spMk id="7" creationId="{00000000-0000-0000-0000-000000000000}"/>
          </ac:spMkLst>
        </pc:spChg>
        <pc:spChg chg="mod">
          <ac:chgData name="Andrew Sharp" userId="53f178df-da21-4936-8a93-86de9258956d" providerId="ADAL" clId="{0C248C7E-5B4F-4D11-9379-C3CCEE5B67A0}" dt="2018-10-24T20:40:06.491" v="15467" actId="20577"/>
          <ac:spMkLst>
            <pc:docMk/>
            <pc:sldMk cId="4243194647" sldId="539"/>
            <ac:spMk id="14" creationId="{00000000-0000-0000-0000-000000000000}"/>
          </ac:spMkLst>
        </pc:spChg>
        <pc:grpChg chg="add del">
          <ac:chgData name="Andrew Sharp" userId="53f178df-da21-4936-8a93-86de9258956d" providerId="ADAL" clId="{0C248C7E-5B4F-4D11-9379-C3CCEE5B67A0}" dt="2018-11-03T15:41:22.849" v="27711"/>
          <ac:grpSpMkLst>
            <pc:docMk/>
            <pc:sldMk cId="4243194647" sldId="539"/>
            <ac:grpSpMk id="15" creationId="{66E7032D-5597-4451-B9AB-99ECE929DDFF}"/>
          </ac:grpSpMkLst>
        </pc:grpChg>
      </pc:sldChg>
      <pc:sldChg chg="modSp">
        <pc:chgData name="Andrew Sharp" userId="53f178df-da21-4936-8a93-86de9258956d" providerId="ADAL" clId="{0C248C7E-5B4F-4D11-9379-C3CCEE5B67A0}" dt="2018-11-03T15:41:32.115" v="27719" actId="20577"/>
        <pc:sldMkLst>
          <pc:docMk/>
          <pc:sldMk cId="835951423" sldId="540"/>
        </pc:sldMkLst>
        <pc:spChg chg="mod">
          <ac:chgData name="Andrew Sharp" userId="53f178df-da21-4936-8a93-86de9258956d" providerId="ADAL" clId="{0C248C7E-5B4F-4D11-9379-C3CCEE5B67A0}" dt="2018-11-03T15:41:32.115" v="27719" actId="20577"/>
          <ac:spMkLst>
            <pc:docMk/>
            <pc:sldMk cId="835951423" sldId="540"/>
            <ac:spMk id="5" creationId="{00000000-0000-0000-0000-000000000000}"/>
          </ac:spMkLst>
        </pc:spChg>
        <pc:spChg chg="mod">
          <ac:chgData name="Andrew Sharp" userId="53f178df-da21-4936-8a93-86de9258956d" providerId="ADAL" clId="{0C248C7E-5B4F-4D11-9379-C3CCEE5B67A0}" dt="2018-10-24T20:40:17.082" v="15475" actId="20577"/>
          <ac:spMkLst>
            <pc:docMk/>
            <pc:sldMk cId="835951423" sldId="540"/>
            <ac:spMk id="10" creationId="{00000000-0000-0000-0000-000000000000}"/>
          </ac:spMkLst>
        </pc:spChg>
        <pc:spChg chg="mod">
          <ac:chgData name="Andrew Sharp" userId="53f178df-da21-4936-8a93-86de9258956d" providerId="ADAL" clId="{0C248C7E-5B4F-4D11-9379-C3CCEE5B67A0}" dt="2018-10-24T20:40:20.139" v="15483" actId="20577"/>
          <ac:spMkLst>
            <pc:docMk/>
            <pc:sldMk cId="835951423" sldId="540"/>
            <ac:spMk id="12" creationId="{00000000-0000-0000-0000-000000000000}"/>
          </ac:spMkLst>
        </pc:spChg>
      </pc:sldChg>
      <pc:sldChg chg="modSp addCm delCm">
        <pc:chgData name="Andrew Sharp" userId="53f178df-da21-4936-8a93-86de9258956d" providerId="ADAL" clId="{0C248C7E-5B4F-4D11-9379-C3CCEE5B67A0}" dt="2018-11-08T18:40:36.944" v="41309" actId="20577"/>
        <pc:sldMkLst>
          <pc:docMk/>
          <pc:sldMk cId="3595597331" sldId="542"/>
        </pc:sldMkLst>
        <pc:spChg chg="mod">
          <ac:chgData name="Andrew Sharp" userId="53f178df-da21-4936-8a93-86de9258956d" providerId="ADAL" clId="{0C248C7E-5B4F-4D11-9379-C3CCEE5B67A0}" dt="2018-11-08T18:40:21.155" v="41298" actId="14100"/>
          <ac:spMkLst>
            <pc:docMk/>
            <pc:sldMk cId="3595597331" sldId="542"/>
            <ac:spMk id="3" creationId="{00000000-0000-0000-0000-000000000000}"/>
          </ac:spMkLst>
        </pc:spChg>
        <pc:spChg chg="mod">
          <ac:chgData name="Andrew Sharp" userId="53f178df-da21-4936-8a93-86de9258956d" providerId="ADAL" clId="{0C248C7E-5B4F-4D11-9379-C3CCEE5B67A0}" dt="2018-11-08T18:40:36.944" v="41309" actId="20577"/>
          <ac:spMkLst>
            <pc:docMk/>
            <pc:sldMk cId="3595597331" sldId="542"/>
            <ac:spMk id="8" creationId="{00000000-0000-0000-0000-000000000000}"/>
          </ac:spMkLst>
        </pc:spChg>
        <pc:picChg chg="mod">
          <ac:chgData name="Andrew Sharp" userId="53f178df-da21-4936-8a93-86de9258956d" providerId="ADAL" clId="{0C248C7E-5B4F-4D11-9379-C3CCEE5B67A0}" dt="2018-10-24T20:23:50.384" v="14862" actId="14100"/>
          <ac:picMkLst>
            <pc:docMk/>
            <pc:sldMk cId="3595597331" sldId="542"/>
            <ac:picMk id="5" creationId="{00000000-0000-0000-0000-000000000000}"/>
          </ac:picMkLst>
        </pc:picChg>
        <pc:picChg chg="mod">
          <ac:chgData name="Andrew Sharp" userId="53f178df-da21-4936-8a93-86de9258956d" providerId="ADAL" clId="{0C248C7E-5B4F-4D11-9379-C3CCEE5B67A0}" dt="2018-10-24T20:20:12.686" v="14828" actId="1037"/>
          <ac:picMkLst>
            <pc:docMk/>
            <pc:sldMk cId="3595597331" sldId="542"/>
            <ac:picMk id="10" creationId="{00000000-0000-0000-0000-000000000000}"/>
          </ac:picMkLst>
        </pc:picChg>
      </pc:sldChg>
      <pc:sldChg chg="addSp delSp modSp addCm delCm modCm">
        <pc:chgData name="Andrew Sharp" userId="53f178df-da21-4936-8a93-86de9258956d" providerId="ADAL" clId="{0C248C7E-5B4F-4D11-9379-C3CCEE5B67A0}" dt="2018-11-08T18:31:36.452" v="41095" actId="1592"/>
        <pc:sldMkLst>
          <pc:docMk/>
          <pc:sldMk cId="1320871744" sldId="544"/>
        </pc:sldMkLst>
        <pc:spChg chg="mod">
          <ac:chgData name="Andrew Sharp" userId="53f178df-da21-4936-8a93-86de9258956d" providerId="ADAL" clId="{0C248C7E-5B4F-4D11-9379-C3CCEE5B67A0}" dt="2018-10-19T19:00:11.513" v="4342" actId="14100"/>
          <ac:spMkLst>
            <pc:docMk/>
            <pc:sldMk cId="1320871744" sldId="544"/>
            <ac:spMk id="2" creationId="{00000000-0000-0000-0000-000000000000}"/>
          </ac:spMkLst>
        </pc:spChg>
        <pc:spChg chg="mod">
          <ac:chgData name="Andrew Sharp" userId="53f178df-da21-4936-8a93-86de9258956d" providerId="ADAL" clId="{0C248C7E-5B4F-4D11-9379-C3CCEE5B67A0}" dt="2018-10-19T19:24:36.908" v="5779" actId="255"/>
          <ac:spMkLst>
            <pc:docMk/>
            <pc:sldMk cId="1320871744" sldId="544"/>
            <ac:spMk id="3" creationId="{00000000-0000-0000-0000-000000000000}"/>
          </ac:spMkLst>
        </pc:spChg>
        <pc:spChg chg="mod">
          <ac:chgData name="Andrew Sharp" userId="53f178df-da21-4936-8a93-86de9258956d" providerId="ADAL" clId="{0C248C7E-5B4F-4D11-9379-C3CCEE5B67A0}" dt="2018-10-22T13:31:53.976" v="8723" actId="115"/>
          <ac:spMkLst>
            <pc:docMk/>
            <pc:sldMk cId="1320871744" sldId="544"/>
            <ac:spMk id="9" creationId="{00000000-0000-0000-0000-000000000000}"/>
          </ac:spMkLst>
        </pc:spChg>
        <pc:spChg chg="add mod">
          <ac:chgData name="Andrew Sharp" userId="53f178df-da21-4936-8a93-86de9258956d" providerId="ADAL" clId="{0C248C7E-5B4F-4D11-9379-C3CCEE5B67A0}" dt="2018-10-24T17:56:54.816" v="11102" actId="20577"/>
          <ac:spMkLst>
            <pc:docMk/>
            <pc:sldMk cId="1320871744" sldId="544"/>
            <ac:spMk id="11" creationId="{2DE7B52C-D2D6-4BDD-98A5-8A20481EC80D}"/>
          </ac:spMkLst>
        </pc:spChg>
        <pc:spChg chg="mod">
          <ac:chgData name="Andrew Sharp" userId="53f178df-da21-4936-8a93-86de9258956d" providerId="ADAL" clId="{0C248C7E-5B4F-4D11-9379-C3CCEE5B67A0}" dt="2018-10-19T19:24:02.787" v="5754" actId="1036"/>
          <ac:spMkLst>
            <pc:docMk/>
            <pc:sldMk cId="1320871744" sldId="544"/>
            <ac:spMk id="12" creationId="{00000000-0000-0000-0000-000000000000}"/>
          </ac:spMkLst>
        </pc:spChg>
        <pc:spChg chg="mod">
          <ac:chgData name="Andrew Sharp" userId="53f178df-da21-4936-8a93-86de9258956d" providerId="ADAL" clId="{0C248C7E-5B4F-4D11-9379-C3CCEE5B67A0}" dt="2018-10-19T19:24:02.787" v="5754" actId="1036"/>
          <ac:spMkLst>
            <pc:docMk/>
            <pc:sldMk cId="1320871744" sldId="544"/>
            <ac:spMk id="13" creationId="{00000000-0000-0000-0000-000000000000}"/>
          </ac:spMkLst>
        </pc:spChg>
        <pc:spChg chg="del mod">
          <ac:chgData name="Andrew Sharp" userId="53f178df-da21-4936-8a93-86de9258956d" providerId="ADAL" clId="{0C248C7E-5B4F-4D11-9379-C3CCEE5B67A0}" dt="2018-10-19T19:07:02.403" v="4550" actId="478"/>
          <ac:spMkLst>
            <pc:docMk/>
            <pc:sldMk cId="1320871744" sldId="544"/>
            <ac:spMk id="14" creationId="{00000000-0000-0000-0000-000000000000}"/>
          </ac:spMkLst>
        </pc:spChg>
        <pc:grpChg chg="mod">
          <ac:chgData name="Andrew Sharp" userId="53f178df-da21-4936-8a93-86de9258956d" providerId="ADAL" clId="{0C248C7E-5B4F-4D11-9379-C3CCEE5B67A0}" dt="2018-10-19T19:24:08.736" v="5755" actId="1076"/>
          <ac:grpSpMkLst>
            <pc:docMk/>
            <pc:sldMk cId="1320871744" sldId="544"/>
            <ac:grpSpMk id="8" creationId="{00000000-0000-0000-0000-000000000000}"/>
          </ac:grpSpMkLst>
        </pc:grpChg>
      </pc:sldChg>
      <pc:sldChg chg="modSp addCm delCm">
        <pc:chgData name="Andrew Sharp" userId="53f178df-da21-4936-8a93-86de9258956d" providerId="ADAL" clId="{0C248C7E-5B4F-4D11-9379-C3CCEE5B67A0}" dt="2018-11-08T18:40:05.061" v="41296" actId="1592"/>
        <pc:sldMkLst>
          <pc:docMk/>
          <pc:sldMk cId="448534373" sldId="546"/>
        </pc:sldMkLst>
        <pc:spChg chg="mod">
          <ac:chgData name="Andrew Sharp" userId="53f178df-da21-4936-8a93-86de9258956d" providerId="ADAL" clId="{0C248C7E-5B4F-4D11-9379-C3CCEE5B67A0}" dt="2018-10-24T20:11:07.181" v="14766" actId="20577"/>
          <ac:spMkLst>
            <pc:docMk/>
            <pc:sldMk cId="448534373" sldId="546"/>
            <ac:spMk id="2" creationId="{00000000-0000-0000-0000-000000000000}"/>
          </ac:spMkLst>
        </pc:spChg>
        <pc:spChg chg="mod">
          <ac:chgData name="Andrew Sharp" userId="53f178df-da21-4936-8a93-86de9258956d" providerId="ADAL" clId="{0C248C7E-5B4F-4D11-9379-C3CCEE5B67A0}" dt="2018-10-24T20:14:40.566" v="14773" actId="20577"/>
          <ac:spMkLst>
            <pc:docMk/>
            <pc:sldMk cId="448534373" sldId="546"/>
            <ac:spMk id="3" creationId="{00000000-0000-0000-0000-000000000000}"/>
          </ac:spMkLst>
        </pc:spChg>
      </pc:sldChg>
      <pc:sldChg chg="addSp modSp addCm delCm modCm">
        <pc:chgData name="Andrew Sharp" userId="53f178df-da21-4936-8a93-86de9258956d" providerId="ADAL" clId="{0C248C7E-5B4F-4D11-9379-C3CCEE5B67A0}" dt="2018-11-08T18:47:27.179" v="41595"/>
        <pc:sldMkLst>
          <pc:docMk/>
          <pc:sldMk cId="1175598098" sldId="547"/>
        </pc:sldMkLst>
        <pc:picChg chg="add mod ord">
          <ac:chgData name="Andrew Sharp" userId="53f178df-da21-4936-8a93-86de9258956d" providerId="ADAL" clId="{0C248C7E-5B4F-4D11-9379-C3CCEE5B67A0}" dt="2018-11-03T00:10:13.424" v="27163" actId="1076"/>
          <ac:picMkLst>
            <pc:docMk/>
            <pc:sldMk cId="1175598098" sldId="547"/>
            <ac:picMk id="38" creationId="{FD5607C1-5508-42FC-BC08-5F03A833E07A}"/>
          </ac:picMkLst>
        </pc:picChg>
      </pc:sldChg>
      <pc:sldChg chg="modSp addCm delCm modCm">
        <pc:chgData name="Andrew Sharp" userId="53f178df-da21-4936-8a93-86de9258956d" providerId="ADAL" clId="{0C248C7E-5B4F-4D11-9379-C3CCEE5B67A0}" dt="2018-11-08T18:41:47.445" v="41315" actId="1592"/>
        <pc:sldMkLst>
          <pc:docMk/>
          <pc:sldMk cId="2805845703" sldId="548"/>
        </pc:sldMkLst>
        <pc:spChg chg="mod">
          <ac:chgData name="Andrew Sharp" userId="53f178df-da21-4936-8a93-86de9258956d" providerId="ADAL" clId="{0C248C7E-5B4F-4D11-9379-C3CCEE5B67A0}" dt="2018-11-06T19:49:01.100" v="39816" actId="14100"/>
          <ac:spMkLst>
            <pc:docMk/>
            <pc:sldMk cId="2805845703" sldId="548"/>
            <ac:spMk id="13" creationId="{00000000-0000-0000-0000-000000000000}"/>
          </ac:spMkLst>
        </pc:spChg>
        <pc:picChg chg="mod">
          <ac:chgData name="Andrew Sharp" userId="53f178df-da21-4936-8a93-86de9258956d" providerId="ADAL" clId="{0C248C7E-5B4F-4D11-9379-C3CCEE5B67A0}" dt="2018-11-06T19:48:49.300" v="39814" actId="1076"/>
          <ac:picMkLst>
            <pc:docMk/>
            <pc:sldMk cId="2805845703" sldId="548"/>
            <ac:picMk id="16" creationId="{00000000-0000-0000-0000-000000000000}"/>
          </ac:picMkLst>
        </pc:picChg>
      </pc:sldChg>
      <pc:sldChg chg="addSp delSp modSp addCm delCm modCm">
        <pc:chgData name="Andrew Sharp" userId="53f178df-da21-4936-8a93-86de9258956d" providerId="ADAL" clId="{0C248C7E-5B4F-4D11-9379-C3CCEE5B67A0}" dt="2018-11-12T18:05:20.967" v="42034" actId="20577"/>
        <pc:sldMkLst>
          <pc:docMk/>
          <pc:sldMk cId="1947878467" sldId="550"/>
        </pc:sldMkLst>
        <pc:spChg chg="mod">
          <ac:chgData name="Andrew Sharp" userId="53f178df-da21-4936-8a93-86de9258956d" providerId="ADAL" clId="{0C248C7E-5B4F-4D11-9379-C3CCEE5B67A0}" dt="2018-11-05T14:13:19.629" v="30136" actId="20577"/>
          <ac:spMkLst>
            <pc:docMk/>
            <pc:sldMk cId="1947878467" sldId="550"/>
            <ac:spMk id="2" creationId="{00000000-0000-0000-0000-000000000000}"/>
          </ac:spMkLst>
        </pc:spChg>
        <pc:spChg chg="mod">
          <ac:chgData name="Andrew Sharp" userId="53f178df-da21-4936-8a93-86de9258956d" providerId="ADAL" clId="{0C248C7E-5B4F-4D11-9379-C3CCEE5B67A0}" dt="2018-11-12T18:05:20.967" v="42034" actId="20577"/>
          <ac:spMkLst>
            <pc:docMk/>
            <pc:sldMk cId="1947878467" sldId="550"/>
            <ac:spMk id="4" creationId="{00000000-0000-0000-0000-000000000000}"/>
          </ac:spMkLst>
        </pc:spChg>
        <pc:spChg chg="mod topLvl">
          <ac:chgData name="Andrew Sharp" userId="53f178df-da21-4936-8a93-86de9258956d" providerId="ADAL" clId="{0C248C7E-5B4F-4D11-9379-C3CCEE5B67A0}" dt="2018-11-05T14:15:47.885" v="30290" actId="14100"/>
          <ac:spMkLst>
            <pc:docMk/>
            <pc:sldMk cId="1947878467" sldId="550"/>
            <ac:spMk id="15" creationId="{3A2B6211-BD53-452A-AB7A-C4432624AE14}"/>
          </ac:spMkLst>
        </pc:spChg>
        <pc:spChg chg="mod">
          <ac:chgData name="Andrew Sharp" userId="53f178df-da21-4936-8a93-86de9258956d" providerId="ADAL" clId="{0C248C7E-5B4F-4D11-9379-C3CCEE5B67A0}" dt="2018-10-25T14:15:18.546" v="20270" actId="14100"/>
          <ac:spMkLst>
            <pc:docMk/>
            <pc:sldMk cId="1947878467" sldId="550"/>
            <ac:spMk id="25" creationId="{00000000-0000-0000-0000-000000000000}"/>
          </ac:spMkLst>
        </pc:spChg>
        <pc:spChg chg="del mod">
          <ac:chgData name="Andrew Sharp" userId="53f178df-da21-4936-8a93-86de9258956d" providerId="ADAL" clId="{0C248C7E-5B4F-4D11-9379-C3CCEE5B67A0}" dt="2018-11-05T14:13:29.030" v="30137" actId="478"/>
          <ac:spMkLst>
            <pc:docMk/>
            <pc:sldMk cId="1947878467" sldId="550"/>
            <ac:spMk id="26" creationId="{00000000-0000-0000-0000-000000000000}"/>
          </ac:spMkLst>
        </pc:spChg>
        <pc:grpChg chg="add del">
          <ac:chgData name="Andrew Sharp" userId="53f178df-da21-4936-8a93-86de9258956d" providerId="ADAL" clId="{0C248C7E-5B4F-4D11-9379-C3CCEE5B67A0}" dt="2018-11-05T14:13:48.462" v="30140" actId="478"/>
          <ac:grpSpMkLst>
            <pc:docMk/>
            <pc:sldMk cId="1947878467" sldId="550"/>
            <ac:grpSpMk id="14" creationId="{DEA68DC7-5EF5-4F18-B25C-7C3DE19DC8F5}"/>
          </ac:grpSpMkLst>
        </pc:grpChg>
        <pc:grpChg chg="mod">
          <ac:chgData name="Andrew Sharp" userId="53f178df-da21-4936-8a93-86de9258956d" providerId="ADAL" clId="{0C248C7E-5B4F-4D11-9379-C3CCEE5B67A0}" dt="2018-11-05T14:14:00.973" v="30143" actId="1076"/>
          <ac:grpSpMkLst>
            <pc:docMk/>
            <pc:sldMk cId="1947878467" sldId="550"/>
            <ac:grpSpMk id="23" creationId="{00000000-0000-0000-0000-000000000000}"/>
          </ac:grpSpMkLst>
        </pc:grpChg>
        <pc:picChg chg="del topLvl">
          <ac:chgData name="Andrew Sharp" userId="53f178df-da21-4936-8a93-86de9258956d" providerId="ADAL" clId="{0C248C7E-5B4F-4D11-9379-C3CCEE5B67A0}" dt="2018-11-05T14:13:48.462" v="30140" actId="478"/>
          <ac:picMkLst>
            <pc:docMk/>
            <pc:sldMk cId="1947878467" sldId="550"/>
            <ac:picMk id="16" creationId="{53862E4B-71E1-4BD8-A047-F6555093F763}"/>
          </ac:picMkLst>
        </pc:picChg>
      </pc:sldChg>
      <pc:sldChg chg="addSp delSp modSp addCm delCm">
        <pc:chgData name="Andrew Sharp" userId="53f178df-da21-4936-8a93-86de9258956d" providerId="ADAL" clId="{0C248C7E-5B4F-4D11-9379-C3CCEE5B67A0}" dt="2018-11-12T18:06:03.677" v="42046" actId="20577"/>
        <pc:sldMkLst>
          <pc:docMk/>
          <pc:sldMk cId="2666143718" sldId="551"/>
        </pc:sldMkLst>
        <pc:spChg chg="mod">
          <ac:chgData name="Andrew Sharp" userId="53f178df-da21-4936-8a93-86de9258956d" providerId="ADAL" clId="{0C248C7E-5B4F-4D11-9379-C3CCEE5B67A0}" dt="2018-10-24T18:22:41.671" v="11646" actId="20577"/>
          <ac:spMkLst>
            <pc:docMk/>
            <pc:sldMk cId="2666143718" sldId="551"/>
            <ac:spMk id="2" creationId="{00000000-0000-0000-0000-000000000000}"/>
          </ac:spMkLst>
        </pc:spChg>
        <pc:spChg chg="mod">
          <ac:chgData name="Andrew Sharp" userId="53f178df-da21-4936-8a93-86de9258956d" providerId="ADAL" clId="{0C248C7E-5B4F-4D11-9379-C3CCEE5B67A0}" dt="2018-10-22T14:19:44.814" v="9151" actId="20577"/>
          <ac:spMkLst>
            <pc:docMk/>
            <pc:sldMk cId="2666143718" sldId="551"/>
            <ac:spMk id="3" creationId="{00000000-0000-0000-0000-000000000000}"/>
          </ac:spMkLst>
        </pc:spChg>
        <pc:spChg chg="mod">
          <ac:chgData name="Andrew Sharp" userId="53f178df-da21-4936-8a93-86de9258956d" providerId="ADAL" clId="{0C248C7E-5B4F-4D11-9379-C3CCEE5B67A0}" dt="2018-11-12T18:06:03.677" v="42046" actId="20577"/>
          <ac:spMkLst>
            <pc:docMk/>
            <pc:sldMk cId="2666143718" sldId="551"/>
            <ac:spMk id="5" creationId="{00000000-0000-0000-0000-000000000000}"/>
          </ac:spMkLst>
        </pc:spChg>
        <pc:spChg chg="mod">
          <ac:chgData name="Andrew Sharp" userId="53f178df-da21-4936-8a93-86de9258956d" providerId="ADAL" clId="{0C248C7E-5B4F-4D11-9379-C3CCEE5B67A0}" dt="2018-10-10T18:51:39.145" v="3289" actId="14100"/>
          <ac:spMkLst>
            <pc:docMk/>
            <pc:sldMk cId="2666143718" sldId="551"/>
            <ac:spMk id="8" creationId="{00000000-0000-0000-0000-000000000000}"/>
          </ac:spMkLst>
        </pc:spChg>
        <pc:spChg chg="mod">
          <ac:chgData name="Andrew Sharp" userId="53f178df-da21-4936-8a93-86de9258956d" providerId="ADAL" clId="{0C248C7E-5B4F-4D11-9379-C3CCEE5B67A0}" dt="2018-10-22T14:18:15.404" v="9112" actId="208"/>
          <ac:spMkLst>
            <pc:docMk/>
            <pc:sldMk cId="2666143718" sldId="551"/>
            <ac:spMk id="10" creationId="{00000000-0000-0000-0000-000000000000}"/>
          </ac:spMkLst>
        </pc:spChg>
        <pc:spChg chg="mod">
          <ac:chgData name="Andrew Sharp" userId="53f178df-da21-4936-8a93-86de9258956d" providerId="ADAL" clId="{0C248C7E-5B4F-4D11-9379-C3CCEE5B67A0}" dt="2018-10-22T14:19:30.167" v="9126" actId="1076"/>
          <ac:spMkLst>
            <pc:docMk/>
            <pc:sldMk cId="2666143718" sldId="551"/>
            <ac:spMk id="14" creationId="{00000000-0000-0000-0000-000000000000}"/>
          </ac:spMkLst>
        </pc:spChg>
        <pc:spChg chg="del mod">
          <ac:chgData name="Andrew Sharp" userId="53f178df-da21-4936-8a93-86de9258956d" providerId="ADAL" clId="{0C248C7E-5B4F-4D11-9379-C3CCEE5B67A0}" dt="2018-10-22T13:28:54.588" v="8595" actId="478"/>
          <ac:spMkLst>
            <pc:docMk/>
            <pc:sldMk cId="2666143718" sldId="551"/>
            <ac:spMk id="20" creationId="{00000000-0000-0000-0000-000000000000}"/>
          </ac:spMkLst>
        </pc:spChg>
        <pc:spChg chg="del mod ord">
          <ac:chgData name="Andrew Sharp" userId="53f178df-da21-4936-8a93-86de9258956d" providerId="ADAL" clId="{0C248C7E-5B4F-4D11-9379-C3CCEE5B67A0}" dt="2018-10-22T13:55:48.803" v="9102" actId="478"/>
          <ac:spMkLst>
            <pc:docMk/>
            <pc:sldMk cId="2666143718" sldId="551"/>
            <ac:spMk id="21" creationId="{00000000-0000-0000-0000-000000000000}"/>
          </ac:spMkLst>
        </pc:spChg>
        <pc:spChg chg="add del mod">
          <ac:chgData name="Andrew Sharp" userId="53f178df-da21-4936-8a93-86de9258956d" providerId="ADAL" clId="{0C248C7E-5B4F-4D11-9379-C3CCEE5B67A0}" dt="2018-10-10T18:49:59.723" v="3284"/>
          <ac:spMkLst>
            <pc:docMk/>
            <pc:sldMk cId="2666143718" sldId="551"/>
            <ac:spMk id="23" creationId="{9FBF2826-D155-43AD-81F2-2755CC0C90F9}"/>
          </ac:spMkLst>
        </pc:spChg>
        <pc:spChg chg="mod">
          <ac:chgData name="Andrew Sharp" userId="53f178df-da21-4936-8a93-86de9258956d" providerId="ADAL" clId="{0C248C7E-5B4F-4D11-9379-C3CCEE5B67A0}" dt="2018-10-22T14:18:15.404" v="9112" actId="208"/>
          <ac:spMkLst>
            <pc:docMk/>
            <pc:sldMk cId="2666143718" sldId="551"/>
            <ac:spMk id="24" creationId="{6B4E7B6F-E28B-4C5C-ABFD-820C3681E258}"/>
          </ac:spMkLst>
        </pc:spChg>
        <pc:spChg chg="mod">
          <ac:chgData name="Andrew Sharp" userId="53f178df-da21-4936-8a93-86de9258956d" providerId="ADAL" clId="{0C248C7E-5B4F-4D11-9379-C3CCEE5B67A0}" dt="2018-10-22T14:18:15.404" v="9112" actId="208"/>
          <ac:spMkLst>
            <pc:docMk/>
            <pc:sldMk cId="2666143718" sldId="551"/>
            <ac:spMk id="34" creationId="{25DC0233-F88D-4E40-A1FD-FF721245085A}"/>
          </ac:spMkLst>
        </pc:spChg>
        <pc:spChg chg="add del mod">
          <ac:chgData name="Andrew Sharp" userId="53f178df-da21-4936-8a93-86de9258956d" providerId="ADAL" clId="{0C248C7E-5B4F-4D11-9379-C3CCEE5B67A0}" dt="2018-10-10T19:01:54.090" v="3397" actId="478"/>
          <ac:spMkLst>
            <pc:docMk/>
            <pc:sldMk cId="2666143718" sldId="551"/>
            <ac:spMk id="38" creationId="{4B029B2A-8AC0-44A5-B2CD-13BB522F20CA}"/>
          </ac:spMkLst>
        </pc:spChg>
        <pc:spChg chg="add del mod">
          <ac:chgData name="Andrew Sharp" userId="53f178df-da21-4936-8a93-86de9258956d" providerId="ADAL" clId="{0C248C7E-5B4F-4D11-9379-C3CCEE5B67A0}" dt="2018-10-10T19:03:24.977" v="3413"/>
          <ac:spMkLst>
            <pc:docMk/>
            <pc:sldMk cId="2666143718" sldId="551"/>
            <ac:spMk id="39" creationId="{0A361E26-A5CA-4BC3-9543-3CDCE00A3DB0}"/>
          </ac:spMkLst>
        </pc:spChg>
        <pc:spChg chg="mod">
          <ac:chgData name="Andrew Sharp" userId="53f178df-da21-4936-8a93-86de9258956d" providerId="ADAL" clId="{0C248C7E-5B4F-4D11-9379-C3CCEE5B67A0}" dt="2018-10-10T19:02:35.666" v="3406"/>
          <ac:spMkLst>
            <pc:docMk/>
            <pc:sldMk cId="2666143718" sldId="551"/>
            <ac:spMk id="40" creationId="{9AAFE6E5-EC33-4B53-A4A3-04179DCDFA65}"/>
          </ac:spMkLst>
        </pc:spChg>
        <pc:spChg chg="add">
          <ac:chgData name="Andrew Sharp" userId="53f178df-da21-4936-8a93-86de9258956d" providerId="ADAL" clId="{0C248C7E-5B4F-4D11-9379-C3CCEE5B67A0}" dt="2018-10-22T13:29:17.470" v="8596"/>
          <ac:spMkLst>
            <pc:docMk/>
            <pc:sldMk cId="2666143718" sldId="551"/>
            <ac:spMk id="43" creationId="{93114BAD-1B23-482E-A270-707F97874EA9}"/>
          </ac:spMkLst>
        </pc:spChg>
        <pc:grpChg chg="del mod">
          <ac:chgData name="Andrew Sharp" userId="53f178df-da21-4936-8a93-86de9258956d" providerId="ADAL" clId="{0C248C7E-5B4F-4D11-9379-C3CCEE5B67A0}" dt="2018-10-10T18:55:34.623" v="3307" actId="478"/>
          <ac:grpSpMkLst>
            <pc:docMk/>
            <pc:sldMk cId="2666143718" sldId="551"/>
            <ac:grpSpMk id="6" creationId="{00000000-0000-0000-0000-000000000000}"/>
          </ac:grpSpMkLst>
        </pc:grpChg>
        <pc:grpChg chg="mod ord">
          <ac:chgData name="Andrew Sharp" userId="53f178df-da21-4936-8a93-86de9258956d" providerId="ADAL" clId="{0C248C7E-5B4F-4D11-9379-C3CCEE5B67A0}" dt="2018-10-22T14:19:07.310" v="9120" actId="1076"/>
          <ac:grpSpMkLst>
            <pc:docMk/>
            <pc:sldMk cId="2666143718" sldId="551"/>
            <ac:grpSpMk id="9" creationId="{00000000-0000-0000-0000-000000000000}"/>
          </ac:grpSpMkLst>
        </pc:grpChg>
        <pc:grpChg chg="mod ord">
          <ac:chgData name="Andrew Sharp" userId="53f178df-da21-4936-8a93-86de9258956d" providerId="ADAL" clId="{0C248C7E-5B4F-4D11-9379-C3CCEE5B67A0}" dt="2018-10-22T14:19:16.310" v="9122" actId="1076"/>
          <ac:grpSpMkLst>
            <pc:docMk/>
            <pc:sldMk cId="2666143718" sldId="551"/>
            <ac:grpSpMk id="12" creationId="{00000000-0000-0000-0000-000000000000}"/>
          </ac:grpSpMkLst>
        </pc:grpChg>
        <pc:grpChg chg="del">
          <ac:chgData name="Andrew Sharp" userId="53f178df-da21-4936-8a93-86de9258956d" providerId="ADAL" clId="{0C248C7E-5B4F-4D11-9379-C3CCEE5B67A0}" dt="2018-10-10T18:55:14.259" v="3304" actId="478"/>
          <ac:grpSpMkLst>
            <pc:docMk/>
            <pc:sldMk cId="2666143718" sldId="551"/>
            <ac:grpSpMk id="15" creationId="{00000000-0000-0000-0000-000000000000}"/>
          </ac:grpSpMkLst>
        </pc:grpChg>
        <pc:grpChg chg="add mod ord">
          <ac:chgData name="Andrew Sharp" userId="53f178df-da21-4936-8a93-86de9258956d" providerId="ADAL" clId="{0C248C7E-5B4F-4D11-9379-C3CCEE5B67A0}" dt="2018-10-22T13:55:10.166" v="9099" actId="166"/>
          <ac:grpSpMkLst>
            <pc:docMk/>
            <pc:sldMk cId="2666143718" sldId="551"/>
            <ac:grpSpMk id="22" creationId="{00C0479A-8E73-48FA-8662-1615D2F01956}"/>
          </ac:grpSpMkLst>
        </pc:grpChg>
        <pc:grpChg chg="add mod ord">
          <ac:chgData name="Andrew Sharp" userId="53f178df-da21-4936-8a93-86de9258956d" providerId="ADAL" clId="{0C248C7E-5B4F-4D11-9379-C3CCEE5B67A0}" dt="2018-10-22T14:18:38.266" v="9115" actId="1076"/>
          <ac:grpSpMkLst>
            <pc:docMk/>
            <pc:sldMk cId="2666143718" sldId="551"/>
            <ac:grpSpMk id="32" creationId="{E458A953-8ABF-4B50-90B0-D3A194CE477C}"/>
          </ac:grpSpMkLst>
        </pc:grpChg>
        <pc:grpChg chg="add del mod">
          <ac:chgData name="Andrew Sharp" userId="53f178df-da21-4936-8a93-86de9258956d" providerId="ADAL" clId="{0C248C7E-5B4F-4D11-9379-C3CCEE5B67A0}" dt="2018-10-22T14:25:32.810" v="9195"/>
          <ac:grpSpMkLst>
            <pc:docMk/>
            <pc:sldMk cId="2666143718" sldId="551"/>
            <ac:grpSpMk id="49" creationId="{AA7CF610-EC56-4211-8D8F-9E9F65B7B0D2}"/>
          </ac:grpSpMkLst>
        </pc:grpChg>
        <pc:picChg chg="add del mod modCrop">
          <ac:chgData name="Andrew Sharp" userId="53f178df-da21-4936-8a93-86de9258956d" providerId="ADAL" clId="{0C248C7E-5B4F-4D11-9379-C3CCEE5B67A0}" dt="2018-10-10T18:35:51.118" v="2982" actId="478"/>
          <ac:picMkLst>
            <pc:docMk/>
            <pc:sldMk cId="2666143718" sldId="551"/>
            <ac:picMk id="4" creationId="{577E1C43-6383-48E1-8AF4-CE3A55197E23}"/>
          </ac:picMkLst>
        </pc:picChg>
        <pc:picChg chg="add del mod">
          <ac:chgData name="Andrew Sharp" userId="53f178df-da21-4936-8a93-86de9258956d" providerId="ADAL" clId="{0C248C7E-5B4F-4D11-9379-C3CCEE5B67A0}" dt="2018-10-10T18:49:59.723" v="3284"/>
          <ac:picMkLst>
            <pc:docMk/>
            <pc:sldMk cId="2666143718" sldId="551"/>
            <ac:picMk id="22" creationId="{F2310884-B902-42C6-BCD5-9C5308067618}"/>
          </ac:picMkLst>
        </pc:picChg>
        <pc:picChg chg="add del mod modCrop">
          <ac:chgData name="Andrew Sharp" userId="53f178df-da21-4936-8a93-86de9258956d" providerId="ADAL" clId="{0C248C7E-5B4F-4D11-9379-C3CCEE5B67A0}" dt="2018-10-10T19:03:24.977" v="3413"/>
          <ac:picMkLst>
            <pc:docMk/>
            <pc:sldMk cId="2666143718" sldId="551"/>
            <ac:picMk id="24" creationId="{E8F2CF92-AA4A-47DE-BF3E-37512D69F589}"/>
          </ac:picMkLst>
        </pc:picChg>
        <pc:picChg chg="mod">
          <ac:chgData name="Andrew Sharp" userId="53f178df-da21-4936-8a93-86de9258956d" providerId="ADAL" clId="{0C248C7E-5B4F-4D11-9379-C3CCEE5B67A0}" dt="2018-10-10T19:03:03.557" v="3410"/>
          <ac:picMkLst>
            <pc:docMk/>
            <pc:sldMk cId="2666143718" sldId="551"/>
            <ac:picMk id="41" creationId="{95A329E5-FE02-454A-9CD1-5C62F82B8CC3}"/>
          </ac:picMkLst>
        </pc:picChg>
        <pc:picChg chg="del mod modCrop">
          <ac:chgData name="Andrew Sharp" userId="53f178df-da21-4936-8a93-86de9258956d" providerId="ADAL" clId="{0C248C7E-5B4F-4D11-9379-C3CCEE5B67A0}" dt="2018-10-22T13:55:01.166" v="9097" actId="478"/>
          <ac:picMkLst>
            <pc:docMk/>
            <pc:sldMk cId="2666143718" sldId="551"/>
            <ac:picMk id="42" creationId="{107BF78F-4090-47A7-B08E-571E8A06873C}"/>
          </ac:picMkLst>
        </pc:picChg>
        <pc:picChg chg="add del">
          <ac:chgData name="Andrew Sharp" userId="53f178df-da21-4936-8a93-86de9258956d" providerId="ADAL" clId="{0C248C7E-5B4F-4D11-9379-C3CCEE5B67A0}" dt="2018-10-22T13:52:23.531" v="9061"/>
          <ac:picMkLst>
            <pc:docMk/>
            <pc:sldMk cId="2666143718" sldId="551"/>
            <ac:picMk id="47" creationId="{BBF7F4A7-1E77-4B81-9B29-8986C8C95851}"/>
          </ac:picMkLst>
        </pc:picChg>
        <pc:picChg chg="add mod">
          <ac:chgData name="Andrew Sharp" userId="53f178df-da21-4936-8a93-86de9258956d" providerId="ADAL" clId="{0C248C7E-5B4F-4D11-9379-C3CCEE5B67A0}" dt="2018-10-22T14:29:44.846" v="9218" actId="1582"/>
          <ac:picMkLst>
            <pc:docMk/>
            <pc:sldMk cId="2666143718" sldId="551"/>
            <ac:picMk id="48" creationId="{75521D2C-64A1-4339-A956-976302272FF8}"/>
          </ac:picMkLst>
        </pc:picChg>
        <pc:cxnChg chg="mod">
          <ac:chgData name="Andrew Sharp" userId="53f178df-da21-4936-8a93-86de9258956d" providerId="ADAL" clId="{0C248C7E-5B4F-4D11-9379-C3CCEE5B67A0}" dt="2018-10-10T18:55:34.623" v="3307" actId="478"/>
          <ac:cxnSpMkLst>
            <pc:docMk/>
            <pc:sldMk cId="2666143718" sldId="551"/>
            <ac:cxnSpMk id="7" creationId="{00000000-0000-0000-0000-000000000000}"/>
          </ac:cxnSpMkLst>
        </pc:cxnChg>
        <pc:cxnChg chg="mod">
          <ac:chgData name="Andrew Sharp" userId="53f178df-da21-4936-8a93-86de9258956d" providerId="ADAL" clId="{0C248C7E-5B4F-4D11-9379-C3CCEE5B67A0}" dt="2018-10-22T14:19:13.279" v="9121" actId="14100"/>
          <ac:cxnSpMkLst>
            <pc:docMk/>
            <pc:sldMk cId="2666143718" sldId="551"/>
            <ac:cxnSpMk id="11" creationId="{00000000-0000-0000-0000-000000000000}"/>
          </ac:cxnSpMkLst>
        </pc:cxnChg>
        <pc:cxnChg chg="mod">
          <ac:chgData name="Andrew Sharp" userId="53f178df-da21-4936-8a93-86de9258956d" providerId="ADAL" clId="{0C248C7E-5B4F-4D11-9379-C3CCEE5B67A0}" dt="2018-10-22T14:19:30.167" v="9126" actId="1076"/>
          <ac:cxnSpMkLst>
            <pc:docMk/>
            <pc:sldMk cId="2666143718" sldId="551"/>
            <ac:cxnSpMk id="13" creationId="{00000000-0000-0000-0000-000000000000}"/>
          </ac:cxnSpMkLst>
        </pc:cxnChg>
        <pc:cxnChg chg="mod">
          <ac:chgData name="Andrew Sharp" userId="53f178df-da21-4936-8a93-86de9258956d" providerId="ADAL" clId="{0C248C7E-5B4F-4D11-9379-C3CCEE5B67A0}" dt="2018-10-10T18:55:14.259" v="3304" actId="478"/>
          <ac:cxnSpMkLst>
            <pc:docMk/>
            <pc:sldMk cId="2666143718" sldId="551"/>
            <ac:cxnSpMk id="16" creationId="{00000000-0000-0000-0000-000000000000}"/>
          </ac:cxnSpMkLst>
        </pc:cxnChg>
        <pc:cxnChg chg="del mod">
          <ac:chgData name="Andrew Sharp" userId="53f178df-da21-4936-8a93-86de9258956d" providerId="ADAL" clId="{0C248C7E-5B4F-4D11-9379-C3CCEE5B67A0}" dt="2018-10-10T18:55:14.259" v="3304" actId="478"/>
          <ac:cxnSpMkLst>
            <pc:docMk/>
            <pc:sldMk cId="2666143718" sldId="551"/>
            <ac:cxnSpMk id="18" creationId="{00000000-0000-0000-0000-000000000000}"/>
          </ac:cxnSpMkLst>
        </pc:cxnChg>
        <pc:cxnChg chg="del mod">
          <ac:chgData name="Andrew Sharp" userId="53f178df-da21-4936-8a93-86de9258956d" providerId="ADAL" clId="{0C248C7E-5B4F-4D11-9379-C3CCEE5B67A0}" dt="2018-10-10T18:55:34.623" v="3307" actId="478"/>
          <ac:cxnSpMkLst>
            <pc:docMk/>
            <pc:sldMk cId="2666143718" sldId="551"/>
            <ac:cxnSpMk id="19" creationId="{00000000-0000-0000-0000-000000000000}"/>
          </ac:cxnSpMkLst>
        </pc:cxnChg>
        <pc:cxnChg chg="mod">
          <ac:chgData name="Andrew Sharp" userId="53f178df-da21-4936-8a93-86de9258956d" providerId="ADAL" clId="{0C248C7E-5B4F-4D11-9379-C3CCEE5B67A0}" dt="2018-10-22T14:18:23.855" v="9113" actId="14100"/>
          <ac:cxnSpMkLst>
            <pc:docMk/>
            <pc:sldMk cId="2666143718" sldId="551"/>
            <ac:cxnSpMk id="23" creationId="{EE069C80-C5F5-4C53-A0B2-9DADBBDC9EEC}"/>
          </ac:cxnSpMkLst>
        </pc:cxnChg>
        <pc:cxnChg chg="mod">
          <ac:chgData name="Andrew Sharp" userId="53f178df-da21-4936-8a93-86de9258956d" providerId="ADAL" clId="{0C248C7E-5B4F-4D11-9379-C3CCEE5B67A0}" dt="2018-10-22T14:18:45.109" v="9116" actId="14100"/>
          <ac:cxnSpMkLst>
            <pc:docMk/>
            <pc:sldMk cId="2666143718" sldId="551"/>
            <ac:cxnSpMk id="33" creationId="{E4671A84-A7E8-4634-932E-A29F06FD2E3A}"/>
          </ac:cxnSpMkLst>
        </pc:cxnChg>
      </pc:sldChg>
      <pc:sldChg chg="addSp delSp modSp addCm delCm modCm">
        <pc:chgData name="Andrew Sharp" userId="53f178df-da21-4936-8a93-86de9258956d" providerId="ADAL" clId="{0C248C7E-5B4F-4D11-9379-C3CCEE5B67A0}" dt="2018-11-12T18:06:22.977" v="42060" actId="20577"/>
        <pc:sldMkLst>
          <pc:docMk/>
          <pc:sldMk cId="2762027256" sldId="552"/>
        </pc:sldMkLst>
        <pc:spChg chg="add mod">
          <ac:chgData name="Andrew Sharp" userId="53f178df-da21-4936-8a93-86de9258956d" providerId="ADAL" clId="{0C248C7E-5B4F-4D11-9379-C3CCEE5B67A0}" dt="2018-11-08T18:35:06.811" v="41233" actId="20577"/>
          <ac:spMkLst>
            <pc:docMk/>
            <pc:sldMk cId="2762027256" sldId="552"/>
            <ac:spMk id="4" creationId="{238C64FD-15FA-456C-AB71-404D15C7C04D}"/>
          </ac:spMkLst>
        </pc:spChg>
        <pc:spChg chg="add del mod">
          <ac:chgData name="Andrew Sharp" userId="53f178df-da21-4936-8a93-86de9258956d" providerId="ADAL" clId="{0C248C7E-5B4F-4D11-9379-C3CCEE5B67A0}" dt="2018-11-08T18:36:04.366" v="41243" actId="478"/>
          <ac:spMkLst>
            <pc:docMk/>
            <pc:sldMk cId="2762027256" sldId="552"/>
            <ac:spMk id="5" creationId="{C7D821E7-D327-41FF-ABEA-BDE31232B161}"/>
          </ac:spMkLst>
        </pc:spChg>
        <pc:spChg chg="mod">
          <ac:chgData name="Andrew Sharp" userId="53f178df-da21-4936-8a93-86de9258956d" providerId="ADAL" clId="{0C248C7E-5B4F-4D11-9379-C3CCEE5B67A0}" dt="2018-10-24T18:20:23.389" v="11542" actId="14100"/>
          <ac:spMkLst>
            <pc:docMk/>
            <pc:sldMk cId="2762027256" sldId="552"/>
            <ac:spMk id="7" creationId="{00000000-0000-0000-0000-000000000000}"/>
          </ac:spMkLst>
        </pc:spChg>
        <pc:spChg chg="del mod">
          <ac:chgData name="Andrew Sharp" userId="53f178df-da21-4936-8a93-86de9258956d" providerId="ADAL" clId="{0C248C7E-5B4F-4D11-9379-C3CCEE5B67A0}" dt="2018-11-02T15:12:04.067" v="25238" actId="478"/>
          <ac:spMkLst>
            <pc:docMk/>
            <pc:sldMk cId="2762027256" sldId="552"/>
            <ac:spMk id="8" creationId="{00000000-0000-0000-0000-000000000000}"/>
          </ac:spMkLst>
        </pc:spChg>
        <pc:spChg chg="mod">
          <ac:chgData name="Andrew Sharp" userId="53f178df-da21-4936-8a93-86de9258956d" providerId="ADAL" clId="{0C248C7E-5B4F-4D11-9379-C3CCEE5B67A0}" dt="2018-11-08T18:33:04.114" v="41106" actId="20577"/>
          <ac:spMkLst>
            <pc:docMk/>
            <pc:sldMk cId="2762027256" sldId="552"/>
            <ac:spMk id="12" creationId="{00000000-0000-0000-0000-000000000000}"/>
          </ac:spMkLst>
        </pc:spChg>
        <pc:spChg chg="mod">
          <ac:chgData name="Andrew Sharp" userId="53f178df-da21-4936-8a93-86de9258956d" providerId="ADAL" clId="{0C248C7E-5B4F-4D11-9379-C3CCEE5B67A0}" dt="2018-10-24T18:21:53.139" v="11613" actId="20577"/>
          <ac:spMkLst>
            <pc:docMk/>
            <pc:sldMk cId="2762027256" sldId="552"/>
            <ac:spMk id="17" creationId="{00000000-0000-0000-0000-000000000000}"/>
          </ac:spMkLst>
        </pc:spChg>
        <pc:spChg chg="mod">
          <ac:chgData name="Andrew Sharp" userId="53f178df-da21-4936-8a93-86de9258956d" providerId="ADAL" clId="{0C248C7E-5B4F-4D11-9379-C3CCEE5B67A0}" dt="2018-11-12T18:06:22.977" v="42060" actId="20577"/>
          <ac:spMkLst>
            <pc:docMk/>
            <pc:sldMk cId="2762027256" sldId="552"/>
            <ac:spMk id="18" creationId="{00000000-0000-0000-0000-000000000000}"/>
          </ac:spMkLst>
        </pc:spChg>
        <pc:picChg chg="add mod">
          <ac:chgData name="Andrew Sharp" userId="53f178df-da21-4936-8a93-86de9258956d" providerId="ADAL" clId="{0C248C7E-5B4F-4D11-9379-C3CCEE5B67A0}" dt="2018-11-08T18:34:07.520" v="41204" actId="1076"/>
          <ac:picMkLst>
            <pc:docMk/>
            <pc:sldMk cId="2762027256" sldId="552"/>
            <ac:picMk id="3" creationId="{375155CD-EA92-4D12-A250-C9B22C9DCAE7}"/>
          </ac:picMkLst>
        </pc:picChg>
      </pc:sldChg>
      <pc:sldChg chg="addSp delSp modSp addCm delCm">
        <pc:chgData name="Andrew Sharp" userId="53f178df-da21-4936-8a93-86de9258956d" providerId="ADAL" clId="{0C248C7E-5B4F-4D11-9379-C3CCEE5B67A0}" dt="2018-11-12T18:06:29.671" v="42066" actId="5793"/>
        <pc:sldMkLst>
          <pc:docMk/>
          <pc:sldMk cId="3136346480" sldId="555"/>
        </pc:sldMkLst>
        <pc:spChg chg="mod">
          <ac:chgData name="Andrew Sharp" userId="53f178df-da21-4936-8a93-86de9258956d" providerId="ADAL" clId="{0C248C7E-5B4F-4D11-9379-C3CCEE5B67A0}" dt="2018-11-12T18:06:29.671" v="42066" actId="5793"/>
          <ac:spMkLst>
            <pc:docMk/>
            <pc:sldMk cId="3136346480" sldId="555"/>
            <ac:spMk id="2" creationId="{00000000-0000-0000-0000-000000000000}"/>
          </ac:spMkLst>
        </pc:spChg>
        <pc:spChg chg="mod">
          <ac:chgData name="Andrew Sharp" userId="53f178df-da21-4936-8a93-86de9258956d" providerId="ADAL" clId="{0C248C7E-5B4F-4D11-9379-C3CCEE5B67A0}" dt="2018-10-24T18:32:34.020" v="11816" actId="404"/>
          <ac:spMkLst>
            <pc:docMk/>
            <pc:sldMk cId="3136346480" sldId="555"/>
            <ac:spMk id="6" creationId="{00000000-0000-0000-0000-000000000000}"/>
          </ac:spMkLst>
        </pc:spChg>
        <pc:spChg chg="mod">
          <ac:chgData name="Andrew Sharp" userId="53f178df-da21-4936-8a93-86de9258956d" providerId="ADAL" clId="{0C248C7E-5B4F-4D11-9379-C3CCEE5B67A0}" dt="2018-10-24T18:33:31.409" v="11968" actId="20577"/>
          <ac:spMkLst>
            <pc:docMk/>
            <pc:sldMk cId="3136346480" sldId="555"/>
            <ac:spMk id="9" creationId="{00000000-0000-0000-0000-000000000000}"/>
          </ac:spMkLst>
        </pc:spChg>
        <pc:spChg chg="mod">
          <ac:chgData name="Andrew Sharp" userId="53f178df-da21-4936-8a93-86de9258956d" providerId="ADAL" clId="{0C248C7E-5B4F-4D11-9379-C3CCEE5B67A0}" dt="2018-10-24T18:29:31.298" v="11728" actId="1076"/>
          <ac:spMkLst>
            <pc:docMk/>
            <pc:sldMk cId="3136346480" sldId="555"/>
            <ac:spMk id="11" creationId="{00000000-0000-0000-0000-000000000000}"/>
          </ac:spMkLst>
        </pc:spChg>
        <pc:spChg chg="mod">
          <ac:chgData name="Andrew Sharp" userId="53f178df-da21-4936-8a93-86de9258956d" providerId="ADAL" clId="{0C248C7E-5B4F-4D11-9379-C3CCEE5B67A0}" dt="2018-10-24T18:21:58.983" v="11614" actId="6549"/>
          <ac:spMkLst>
            <pc:docMk/>
            <pc:sldMk cId="3136346480" sldId="555"/>
            <ac:spMk id="15" creationId="{00000000-0000-0000-0000-000000000000}"/>
          </ac:spMkLst>
        </pc:spChg>
        <pc:spChg chg="del">
          <ac:chgData name="Andrew Sharp" userId="53f178df-da21-4936-8a93-86de9258956d" providerId="ADAL" clId="{0C248C7E-5B4F-4D11-9379-C3CCEE5B67A0}" dt="2018-10-24T18:31:39.709" v="11808" actId="478"/>
          <ac:spMkLst>
            <pc:docMk/>
            <pc:sldMk cId="3136346480" sldId="555"/>
            <ac:spMk id="17" creationId="{00000000-0000-0000-0000-000000000000}"/>
          </ac:spMkLst>
        </pc:spChg>
        <pc:spChg chg="mod">
          <ac:chgData name="Andrew Sharp" userId="53f178df-da21-4936-8a93-86de9258956d" providerId="ADAL" clId="{0C248C7E-5B4F-4D11-9379-C3CCEE5B67A0}" dt="2018-11-08T18:36:55.867" v="41249" actId="113"/>
          <ac:spMkLst>
            <pc:docMk/>
            <pc:sldMk cId="3136346480" sldId="555"/>
            <ac:spMk id="18" creationId="{00000000-0000-0000-0000-000000000000}"/>
          </ac:spMkLst>
        </pc:spChg>
        <pc:spChg chg="mod">
          <ac:chgData name="Andrew Sharp" userId="53f178df-da21-4936-8a93-86de9258956d" providerId="ADAL" clId="{0C248C7E-5B4F-4D11-9379-C3CCEE5B67A0}" dt="2018-10-24T18:32:13.616" v="11811" actId="1076"/>
          <ac:spMkLst>
            <pc:docMk/>
            <pc:sldMk cId="3136346480" sldId="555"/>
            <ac:spMk id="19" creationId="{00000000-0000-0000-0000-000000000000}"/>
          </ac:spMkLst>
        </pc:spChg>
        <pc:grpChg chg="mod">
          <ac:chgData name="Andrew Sharp" userId="53f178df-da21-4936-8a93-86de9258956d" providerId="ADAL" clId="{0C248C7E-5B4F-4D11-9379-C3CCEE5B67A0}" dt="2018-10-24T18:32:30.605" v="11815" actId="1076"/>
          <ac:grpSpMkLst>
            <pc:docMk/>
            <pc:sldMk cId="3136346480" sldId="555"/>
            <ac:grpSpMk id="21" creationId="{00000000-0000-0000-0000-000000000000}"/>
          </ac:grpSpMkLst>
        </pc:grpChg>
        <pc:graphicFrameChg chg="mod modGraphic">
          <ac:chgData name="Andrew Sharp" userId="53f178df-da21-4936-8a93-86de9258956d" providerId="ADAL" clId="{0C248C7E-5B4F-4D11-9379-C3CCEE5B67A0}" dt="2018-11-08T18:36:35.352" v="41245" actId="2161"/>
          <ac:graphicFrameMkLst>
            <pc:docMk/>
            <pc:sldMk cId="3136346480" sldId="555"/>
            <ac:graphicFrameMk id="10" creationId="{00000000-0000-0000-0000-000000000000}"/>
          </ac:graphicFrameMkLst>
        </pc:graphicFrameChg>
        <pc:picChg chg="add del mod">
          <ac:chgData name="Andrew Sharp" userId="53f178df-da21-4936-8a93-86de9258956d" providerId="ADAL" clId="{0C248C7E-5B4F-4D11-9379-C3CCEE5B67A0}" dt="2018-10-24T18:26:28.983" v="11678" actId="478"/>
          <ac:picMkLst>
            <pc:docMk/>
            <pc:sldMk cId="3136346480" sldId="555"/>
            <ac:picMk id="5" creationId="{350195C2-1CBF-4DDC-956E-8A8DACADBB21}"/>
          </ac:picMkLst>
        </pc:picChg>
        <pc:picChg chg="del">
          <ac:chgData name="Andrew Sharp" userId="53f178df-da21-4936-8a93-86de9258956d" providerId="ADAL" clId="{0C248C7E-5B4F-4D11-9379-C3CCEE5B67A0}" dt="2018-10-24T18:26:00.435" v="11674" actId="478"/>
          <ac:picMkLst>
            <pc:docMk/>
            <pc:sldMk cId="3136346480" sldId="555"/>
            <ac:picMk id="8" creationId="{00000000-0000-0000-0000-000000000000}"/>
          </ac:picMkLst>
        </pc:picChg>
        <pc:picChg chg="add mod">
          <ac:chgData name="Andrew Sharp" userId="53f178df-da21-4936-8a93-86de9258956d" providerId="ADAL" clId="{0C248C7E-5B4F-4D11-9379-C3CCEE5B67A0}" dt="2018-10-24T18:31:42.369" v="11809" actId="1076"/>
          <ac:picMkLst>
            <pc:docMk/>
            <pc:sldMk cId="3136346480" sldId="555"/>
            <ac:picMk id="12" creationId="{93EEE3FE-E5D1-4639-A8C7-ADC18731EA6D}"/>
          </ac:picMkLst>
        </pc:picChg>
      </pc:sldChg>
      <pc:sldChg chg="addSp delSp modSp addCm delCm">
        <pc:chgData name="Andrew Sharp" userId="53f178df-da21-4936-8a93-86de9258956d" providerId="ADAL" clId="{0C248C7E-5B4F-4D11-9379-C3CCEE5B67A0}" dt="2018-11-12T18:06:11.407" v="42050" actId="20577"/>
        <pc:sldMkLst>
          <pc:docMk/>
          <pc:sldMk cId="364221865" sldId="557"/>
        </pc:sldMkLst>
        <pc:spChg chg="mod">
          <ac:chgData name="Andrew Sharp" userId="53f178df-da21-4936-8a93-86de9258956d" providerId="ADAL" clId="{0C248C7E-5B4F-4D11-9379-C3CCEE5B67A0}" dt="2018-11-12T18:06:11.407" v="42050" actId="20577"/>
          <ac:spMkLst>
            <pc:docMk/>
            <pc:sldMk cId="364221865" sldId="557"/>
            <ac:spMk id="3" creationId="{00000000-0000-0000-0000-000000000000}"/>
          </ac:spMkLst>
        </pc:spChg>
        <pc:spChg chg="mod">
          <ac:chgData name="Andrew Sharp" userId="53f178df-da21-4936-8a93-86de9258956d" providerId="ADAL" clId="{0C248C7E-5B4F-4D11-9379-C3CCEE5B67A0}" dt="2018-10-22T14:24:55.552" v="9191" actId="14100"/>
          <ac:spMkLst>
            <pc:docMk/>
            <pc:sldMk cId="364221865" sldId="557"/>
            <ac:spMk id="5" creationId="{00000000-0000-0000-0000-000000000000}"/>
          </ac:spMkLst>
        </pc:spChg>
        <pc:spChg chg="mod">
          <ac:chgData name="Andrew Sharp" userId="53f178df-da21-4936-8a93-86de9258956d" providerId="ADAL" clId="{0C248C7E-5B4F-4D11-9379-C3CCEE5B67A0}" dt="2018-11-05T14:22:41.257" v="30600" actId="20577"/>
          <ac:spMkLst>
            <pc:docMk/>
            <pc:sldMk cId="364221865" sldId="557"/>
            <ac:spMk id="6" creationId="{00000000-0000-0000-0000-000000000000}"/>
          </ac:spMkLst>
        </pc:spChg>
        <pc:spChg chg="mod">
          <ac:chgData name="Andrew Sharp" userId="53f178df-da21-4936-8a93-86de9258956d" providerId="ADAL" clId="{0C248C7E-5B4F-4D11-9379-C3CCEE5B67A0}" dt="2018-10-22T14:24:49.476" v="9190" actId="164"/>
          <ac:spMkLst>
            <pc:docMk/>
            <pc:sldMk cId="364221865" sldId="557"/>
            <ac:spMk id="7" creationId="{00000000-0000-0000-0000-000000000000}"/>
          </ac:spMkLst>
        </pc:spChg>
        <pc:spChg chg="mod">
          <ac:chgData name="Andrew Sharp" userId="53f178df-da21-4936-8a93-86de9258956d" providerId="ADAL" clId="{0C248C7E-5B4F-4D11-9379-C3CCEE5B67A0}" dt="2018-10-22T14:24:49.476" v="9190" actId="164"/>
          <ac:spMkLst>
            <pc:docMk/>
            <pc:sldMk cId="364221865" sldId="557"/>
            <ac:spMk id="8" creationId="{00000000-0000-0000-0000-000000000000}"/>
          </ac:spMkLst>
        </pc:spChg>
        <pc:spChg chg="mod">
          <ac:chgData name="Andrew Sharp" userId="53f178df-da21-4936-8a93-86de9258956d" providerId="ADAL" clId="{0C248C7E-5B4F-4D11-9379-C3CCEE5B67A0}" dt="2018-10-22T14:25:11.354" v="9194" actId="1076"/>
          <ac:spMkLst>
            <pc:docMk/>
            <pc:sldMk cId="364221865" sldId="557"/>
            <ac:spMk id="9" creationId="{00000000-0000-0000-0000-000000000000}"/>
          </ac:spMkLst>
        </pc:spChg>
        <pc:spChg chg="mod">
          <ac:chgData name="Andrew Sharp" userId="53f178df-da21-4936-8a93-86de9258956d" providerId="ADAL" clId="{0C248C7E-5B4F-4D11-9379-C3CCEE5B67A0}" dt="2018-10-22T14:24:49.476" v="9190" actId="164"/>
          <ac:spMkLst>
            <pc:docMk/>
            <pc:sldMk cId="364221865" sldId="557"/>
            <ac:spMk id="10" creationId="{00000000-0000-0000-0000-000000000000}"/>
          </ac:spMkLst>
        </pc:spChg>
        <pc:spChg chg="del">
          <ac:chgData name="Andrew Sharp" userId="53f178df-da21-4936-8a93-86de9258956d" providerId="ADAL" clId="{0C248C7E-5B4F-4D11-9379-C3CCEE5B67A0}" dt="2018-11-05T14:20:06.387" v="30442" actId="478"/>
          <ac:spMkLst>
            <pc:docMk/>
            <pc:sldMk cId="364221865" sldId="557"/>
            <ac:spMk id="12" creationId="{00000000-0000-0000-0000-000000000000}"/>
          </ac:spMkLst>
        </pc:spChg>
        <pc:grpChg chg="add mod">
          <ac:chgData name="Andrew Sharp" userId="53f178df-da21-4936-8a93-86de9258956d" providerId="ADAL" clId="{0C248C7E-5B4F-4D11-9379-C3CCEE5B67A0}" dt="2018-10-22T14:24:59.523" v="9192" actId="1076"/>
          <ac:grpSpMkLst>
            <pc:docMk/>
            <pc:sldMk cId="364221865" sldId="557"/>
            <ac:grpSpMk id="13" creationId="{8848E4B7-002C-4321-9042-61E1EEB8F65C}"/>
          </ac:grpSpMkLst>
        </pc:grpChg>
      </pc:sldChg>
      <pc:sldChg chg="delSp modSp addCm delCm">
        <pc:chgData name="Andrew Sharp" userId="53f178df-da21-4936-8a93-86de9258956d" providerId="ADAL" clId="{0C248C7E-5B4F-4D11-9379-C3CCEE5B67A0}" dt="2018-11-08T18:46:52.102" v="41592" actId="1592"/>
        <pc:sldMkLst>
          <pc:docMk/>
          <pc:sldMk cId="2034173516" sldId="558"/>
        </pc:sldMkLst>
        <pc:spChg chg="mod">
          <ac:chgData name="Andrew Sharp" userId="53f178df-da21-4936-8a93-86de9258956d" providerId="ADAL" clId="{0C248C7E-5B4F-4D11-9379-C3CCEE5B67A0}" dt="2018-11-08T18:37:14.011" v="41251" actId="1076"/>
          <ac:spMkLst>
            <pc:docMk/>
            <pc:sldMk cId="2034173516" sldId="558"/>
            <ac:spMk id="3" creationId="{00000000-0000-0000-0000-000000000000}"/>
          </ac:spMkLst>
        </pc:spChg>
        <pc:spChg chg="mod">
          <ac:chgData name="Andrew Sharp" userId="53f178df-da21-4936-8a93-86de9258956d" providerId="ADAL" clId="{0C248C7E-5B4F-4D11-9379-C3CCEE5B67A0}" dt="2018-11-08T18:37:08.034" v="41250" actId="1076"/>
          <ac:spMkLst>
            <pc:docMk/>
            <pc:sldMk cId="2034173516" sldId="558"/>
            <ac:spMk id="5" creationId="{00000000-0000-0000-0000-000000000000}"/>
          </ac:spMkLst>
        </pc:spChg>
        <pc:spChg chg="mod">
          <ac:chgData name="Andrew Sharp" userId="53f178df-da21-4936-8a93-86de9258956d" providerId="ADAL" clId="{0C248C7E-5B4F-4D11-9379-C3CCEE5B67A0}" dt="2018-10-26T20:18:44.155" v="24653" actId="14100"/>
          <ac:spMkLst>
            <pc:docMk/>
            <pc:sldMk cId="2034173516" sldId="558"/>
            <ac:spMk id="11" creationId="{00000000-0000-0000-0000-000000000000}"/>
          </ac:spMkLst>
        </pc:spChg>
        <pc:grpChg chg="del">
          <ac:chgData name="Andrew Sharp" userId="53f178df-da21-4936-8a93-86de9258956d" providerId="ADAL" clId="{0C248C7E-5B4F-4D11-9379-C3CCEE5B67A0}" dt="2018-10-26T20:19:47.258" v="24655"/>
          <ac:grpSpMkLst>
            <pc:docMk/>
            <pc:sldMk cId="2034173516" sldId="558"/>
            <ac:grpSpMk id="10" creationId="{00000000-0000-0000-0000-000000000000}"/>
          </ac:grpSpMkLst>
        </pc:grpChg>
        <pc:picChg chg="mod">
          <ac:chgData name="Andrew Sharp" userId="53f178df-da21-4936-8a93-86de9258956d" providerId="ADAL" clId="{0C248C7E-5B4F-4D11-9379-C3CCEE5B67A0}" dt="2018-11-08T18:37:14.011" v="41251" actId="1076"/>
          <ac:picMkLst>
            <pc:docMk/>
            <pc:sldMk cId="2034173516" sldId="558"/>
            <ac:picMk id="4" creationId="{00000000-0000-0000-0000-000000000000}"/>
          </ac:picMkLst>
        </pc:picChg>
        <pc:picChg chg="mod">
          <ac:chgData name="Andrew Sharp" userId="53f178df-da21-4936-8a93-86de9258956d" providerId="ADAL" clId="{0C248C7E-5B4F-4D11-9379-C3CCEE5B67A0}" dt="2018-10-26T20:18:40.336" v="24652" actId="14100"/>
          <ac:picMkLst>
            <pc:docMk/>
            <pc:sldMk cId="2034173516" sldId="558"/>
            <ac:picMk id="12" creationId="{00000000-0000-0000-0000-000000000000}"/>
          </ac:picMkLst>
        </pc:picChg>
      </pc:sldChg>
      <pc:sldChg chg="delSp modSp addCm delCm">
        <pc:chgData name="Andrew Sharp" userId="53f178df-da21-4936-8a93-86de9258956d" providerId="ADAL" clId="{0C248C7E-5B4F-4D11-9379-C3CCEE5B67A0}" dt="2018-11-12T18:06:37.082" v="42070" actId="20577"/>
        <pc:sldMkLst>
          <pc:docMk/>
          <pc:sldMk cId="2902070134" sldId="559"/>
        </pc:sldMkLst>
        <pc:spChg chg="mod">
          <ac:chgData name="Andrew Sharp" userId="53f178df-da21-4936-8a93-86de9258956d" providerId="ADAL" clId="{0C248C7E-5B4F-4D11-9379-C3CCEE5B67A0}" dt="2018-11-08T18:38:14.036" v="41259" actId="1035"/>
          <ac:spMkLst>
            <pc:docMk/>
            <pc:sldMk cId="2902070134" sldId="559"/>
            <ac:spMk id="2" creationId="{00000000-0000-0000-0000-000000000000}"/>
          </ac:spMkLst>
        </pc:spChg>
        <pc:spChg chg="mod">
          <ac:chgData name="Andrew Sharp" userId="53f178df-da21-4936-8a93-86de9258956d" providerId="ADAL" clId="{0C248C7E-5B4F-4D11-9379-C3CCEE5B67A0}" dt="2018-11-08T18:38:40.705" v="41284" actId="14100"/>
          <ac:spMkLst>
            <pc:docMk/>
            <pc:sldMk cId="2902070134" sldId="559"/>
            <ac:spMk id="3" creationId="{00000000-0000-0000-0000-000000000000}"/>
          </ac:spMkLst>
        </pc:spChg>
        <pc:spChg chg="mod">
          <ac:chgData name="Andrew Sharp" userId="53f178df-da21-4936-8a93-86de9258956d" providerId="ADAL" clId="{0C248C7E-5B4F-4D11-9379-C3CCEE5B67A0}" dt="2018-11-12T18:06:37.082" v="42070" actId="20577"/>
          <ac:spMkLst>
            <pc:docMk/>
            <pc:sldMk cId="2902070134" sldId="559"/>
            <ac:spMk id="4" creationId="{00000000-0000-0000-0000-000000000000}"/>
          </ac:spMkLst>
        </pc:spChg>
        <pc:spChg chg="mod">
          <ac:chgData name="Andrew Sharp" userId="53f178df-da21-4936-8a93-86de9258956d" providerId="ADAL" clId="{0C248C7E-5B4F-4D11-9379-C3CCEE5B67A0}" dt="2018-11-08T18:38:19.138" v="41262" actId="1035"/>
          <ac:spMkLst>
            <pc:docMk/>
            <pc:sldMk cId="2902070134" sldId="559"/>
            <ac:spMk id="6" creationId="{00000000-0000-0000-0000-000000000000}"/>
          </ac:spMkLst>
        </pc:spChg>
        <pc:spChg chg="mod">
          <ac:chgData name="Andrew Sharp" userId="53f178df-da21-4936-8a93-86de9258956d" providerId="ADAL" clId="{0C248C7E-5B4F-4D11-9379-C3CCEE5B67A0}" dt="2018-10-24T20:38:03.293" v="15418" actId="20577"/>
          <ac:spMkLst>
            <pc:docMk/>
            <pc:sldMk cId="2902070134" sldId="559"/>
            <ac:spMk id="17" creationId="{00000000-0000-0000-0000-000000000000}"/>
          </ac:spMkLst>
        </pc:spChg>
        <pc:spChg chg="mod">
          <ac:chgData name="Andrew Sharp" userId="53f178df-da21-4936-8a93-86de9258956d" providerId="ADAL" clId="{0C248C7E-5B4F-4D11-9379-C3CCEE5B67A0}" dt="2018-11-08T18:38:02.274" v="41254" actId="1076"/>
          <ac:spMkLst>
            <pc:docMk/>
            <pc:sldMk cId="2902070134" sldId="559"/>
            <ac:spMk id="19" creationId="{00000000-0000-0000-0000-000000000000}"/>
          </ac:spMkLst>
        </pc:spChg>
        <pc:grpChg chg="mod">
          <ac:chgData name="Andrew Sharp" userId="53f178df-da21-4936-8a93-86de9258956d" providerId="ADAL" clId="{0C248C7E-5B4F-4D11-9379-C3CCEE5B67A0}" dt="2018-11-08T18:38:06.572" v="41256" actId="1035"/>
          <ac:grpSpMkLst>
            <pc:docMk/>
            <pc:sldMk cId="2902070134" sldId="559"/>
            <ac:grpSpMk id="16" creationId="{00000000-0000-0000-0000-000000000000}"/>
          </ac:grpSpMkLst>
        </pc:grpChg>
        <pc:picChg chg="del mod">
          <ac:chgData name="Andrew Sharp" userId="53f178df-da21-4936-8a93-86de9258956d" providerId="ADAL" clId="{0C248C7E-5B4F-4D11-9379-C3CCEE5B67A0}" dt="2018-11-03T00:08:58.770" v="27151" actId="478"/>
          <ac:picMkLst>
            <pc:docMk/>
            <pc:sldMk cId="2902070134" sldId="559"/>
            <ac:picMk id="15" creationId="{00000000-0000-0000-0000-000000000000}"/>
          </ac:picMkLst>
        </pc:picChg>
      </pc:sldChg>
      <pc:sldChg chg="addSp delSp modSp ord">
        <pc:chgData name="Andrew Sharp" userId="53f178df-da21-4936-8a93-86de9258956d" providerId="ADAL" clId="{0C248C7E-5B4F-4D11-9379-C3CCEE5B67A0}" dt="2018-11-03T00:08:53.503" v="27150"/>
        <pc:sldMkLst>
          <pc:docMk/>
          <pc:sldMk cId="2049388467" sldId="560"/>
        </pc:sldMkLst>
        <pc:spChg chg="del">
          <ac:chgData name="Andrew Sharp" userId="53f178df-da21-4936-8a93-86de9258956d" providerId="ADAL" clId="{0C248C7E-5B4F-4D11-9379-C3CCEE5B67A0}" dt="2018-10-24T20:02:22.003" v="14658" actId="478"/>
          <ac:spMkLst>
            <pc:docMk/>
            <pc:sldMk cId="2049388467" sldId="560"/>
            <ac:spMk id="12" creationId="{00000000-0000-0000-0000-000000000000}"/>
          </ac:spMkLst>
        </pc:spChg>
        <pc:spChg chg="del mod">
          <ac:chgData name="Andrew Sharp" userId="53f178df-da21-4936-8a93-86de9258956d" providerId="ADAL" clId="{0C248C7E-5B4F-4D11-9379-C3CCEE5B67A0}" dt="2018-10-24T20:01:24.789" v="14641" actId="478"/>
          <ac:spMkLst>
            <pc:docMk/>
            <pc:sldMk cId="2049388467" sldId="560"/>
            <ac:spMk id="13" creationId="{00000000-0000-0000-0000-000000000000}"/>
          </ac:spMkLst>
        </pc:spChg>
        <pc:spChg chg="add mod">
          <ac:chgData name="Andrew Sharp" userId="53f178df-da21-4936-8a93-86de9258956d" providerId="ADAL" clId="{0C248C7E-5B4F-4D11-9379-C3CCEE5B67A0}" dt="2018-10-24T20:01:27.570" v="14642" actId="1076"/>
          <ac:spMkLst>
            <pc:docMk/>
            <pc:sldMk cId="2049388467" sldId="560"/>
            <ac:spMk id="14" creationId="{78DB5B90-8C18-4C7C-8BF2-236D1CD6D64F}"/>
          </ac:spMkLst>
        </pc:spChg>
        <pc:grpChg chg="add mod">
          <ac:chgData name="Andrew Sharp" userId="53f178df-da21-4936-8a93-86de9258956d" providerId="ADAL" clId="{0C248C7E-5B4F-4D11-9379-C3CCEE5B67A0}" dt="2018-10-24T20:04:40.345" v="14698" actId="1076"/>
          <ac:grpSpMkLst>
            <pc:docMk/>
            <pc:sldMk cId="2049388467" sldId="560"/>
            <ac:grpSpMk id="3" creationId="{F4B47035-90FD-43B9-8F6A-9E56BECF89F3}"/>
          </ac:grpSpMkLst>
        </pc:grpChg>
        <pc:picChg chg="add del mod modCrop">
          <ac:chgData name="Andrew Sharp" userId="53f178df-da21-4936-8a93-86de9258956d" providerId="ADAL" clId="{0C248C7E-5B4F-4D11-9379-C3CCEE5B67A0}" dt="2018-10-24T20:04:01.459" v="14685" actId="478"/>
          <ac:picMkLst>
            <pc:docMk/>
            <pc:sldMk cId="2049388467" sldId="560"/>
            <ac:picMk id="15" creationId="{38D4D4D2-37DF-4405-B561-473A100CBFC4}"/>
          </ac:picMkLst>
        </pc:picChg>
        <pc:picChg chg="add mod">
          <ac:chgData name="Andrew Sharp" userId="53f178df-da21-4936-8a93-86de9258956d" providerId="ADAL" clId="{0C248C7E-5B4F-4D11-9379-C3CCEE5B67A0}" dt="2018-10-24T20:04:52.763" v="14701" actId="1076"/>
          <ac:picMkLst>
            <pc:docMk/>
            <pc:sldMk cId="2049388467" sldId="560"/>
            <ac:picMk id="16" creationId="{06071599-A6B6-4F83-8814-AC33D77F3B8C}"/>
          </ac:picMkLst>
        </pc:picChg>
        <pc:picChg chg="add mod">
          <ac:chgData name="Andrew Sharp" userId="53f178df-da21-4936-8a93-86de9258956d" providerId="ADAL" clId="{0C248C7E-5B4F-4D11-9379-C3CCEE5B67A0}" dt="2018-10-24T20:04:37.703" v="14697" actId="164"/>
          <ac:picMkLst>
            <pc:docMk/>
            <pc:sldMk cId="2049388467" sldId="560"/>
            <ac:picMk id="17" creationId="{2667F30C-6777-4CE8-BC13-0991B9C72982}"/>
          </ac:picMkLst>
        </pc:picChg>
        <pc:picChg chg="add mod">
          <ac:chgData name="Andrew Sharp" userId="53f178df-da21-4936-8a93-86de9258956d" providerId="ADAL" clId="{0C248C7E-5B4F-4D11-9379-C3CCEE5B67A0}" dt="2018-10-24T20:04:37.703" v="14697" actId="164"/>
          <ac:picMkLst>
            <pc:docMk/>
            <pc:sldMk cId="2049388467" sldId="560"/>
            <ac:picMk id="20" creationId="{5C97B650-B2D1-432B-892D-67D032A9B8F2}"/>
          </ac:picMkLst>
        </pc:picChg>
        <pc:picChg chg="add mod">
          <ac:chgData name="Andrew Sharp" userId="53f178df-da21-4936-8a93-86de9258956d" providerId="ADAL" clId="{0C248C7E-5B4F-4D11-9379-C3CCEE5B67A0}" dt="2018-10-24T20:04:37.703" v="14697" actId="164"/>
          <ac:picMkLst>
            <pc:docMk/>
            <pc:sldMk cId="2049388467" sldId="560"/>
            <ac:picMk id="21" creationId="{6C16E610-BD8F-4880-99E6-01B7CE78E0FE}"/>
          </ac:picMkLst>
        </pc:picChg>
        <pc:picChg chg="add del mod ord">
          <ac:chgData name="Andrew Sharp" userId="53f178df-da21-4936-8a93-86de9258956d" providerId="ADAL" clId="{0C248C7E-5B4F-4D11-9379-C3CCEE5B67A0}" dt="2018-10-24T20:03:56.327" v="14683" actId="478"/>
          <ac:picMkLst>
            <pc:docMk/>
            <pc:sldMk cId="2049388467" sldId="560"/>
            <ac:picMk id="22" creationId="{849C9B3E-C805-4810-9658-5D5F03129CB5}"/>
          </ac:picMkLst>
        </pc:picChg>
        <pc:picChg chg="add del mod">
          <ac:chgData name="Andrew Sharp" userId="53f178df-da21-4936-8a93-86de9258956d" providerId="ADAL" clId="{0C248C7E-5B4F-4D11-9379-C3CCEE5B67A0}" dt="2018-11-03T00:08:53.503" v="27150"/>
          <ac:picMkLst>
            <pc:docMk/>
            <pc:sldMk cId="2049388467" sldId="560"/>
            <ac:picMk id="23" creationId="{C1B2767F-CE29-41AD-97FB-9486BB39BD5E}"/>
          </ac:picMkLst>
        </pc:picChg>
      </pc:sldChg>
      <pc:sldChg chg="addSp delSp modSp delCm">
        <pc:chgData name="Andrew Sharp" userId="53f178df-da21-4936-8a93-86de9258956d" providerId="ADAL" clId="{0C248C7E-5B4F-4D11-9379-C3CCEE5B67A0}" dt="2018-11-05T14:23:23.239" v="30614" actId="1076"/>
        <pc:sldMkLst>
          <pc:docMk/>
          <pc:sldMk cId="3321902392" sldId="561"/>
        </pc:sldMkLst>
        <pc:spChg chg="del">
          <ac:chgData name="Andrew Sharp" userId="53f178df-da21-4936-8a93-86de9258956d" providerId="ADAL" clId="{0C248C7E-5B4F-4D11-9379-C3CCEE5B67A0}" dt="2018-10-25T13:29:37.194" v="19788" actId="478"/>
          <ac:spMkLst>
            <pc:docMk/>
            <pc:sldMk cId="3321902392" sldId="561"/>
            <ac:spMk id="4" creationId="{00000000-0000-0000-0000-000000000000}"/>
          </ac:spMkLst>
        </pc:spChg>
        <pc:spChg chg="mod">
          <ac:chgData name="Andrew Sharp" userId="53f178df-da21-4936-8a93-86de9258956d" providerId="ADAL" clId="{0C248C7E-5B4F-4D11-9379-C3CCEE5B67A0}" dt="2018-11-03T16:03:10.849" v="28097" actId="1076"/>
          <ac:spMkLst>
            <pc:docMk/>
            <pc:sldMk cId="3321902392" sldId="561"/>
            <ac:spMk id="16" creationId="{00000000-0000-0000-0000-000000000000}"/>
          </ac:spMkLst>
        </pc:spChg>
        <pc:spChg chg="del">
          <ac:chgData name="Andrew Sharp" userId="53f178df-da21-4936-8a93-86de9258956d" providerId="ADAL" clId="{0C248C7E-5B4F-4D11-9379-C3CCEE5B67A0}" dt="2018-11-05T14:23:13.056" v="30612" actId="478"/>
          <ac:spMkLst>
            <pc:docMk/>
            <pc:sldMk cId="3321902392" sldId="561"/>
            <ac:spMk id="55" creationId="{00000000-0000-0000-0000-000000000000}"/>
          </ac:spMkLst>
        </pc:spChg>
        <pc:spChg chg="mod">
          <ac:chgData name="Andrew Sharp" userId="53f178df-da21-4936-8a93-86de9258956d" providerId="ADAL" clId="{0C248C7E-5B4F-4D11-9379-C3CCEE5B67A0}" dt="2018-11-05T14:23:04.435" v="30610" actId="20577"/>
          <ac:spMkLst>
            <pc:docMk/>
            <pc:sldMk cId="3321902392" sldId="561"/>
            <ac:spMk id="62" creationId="{00000000-0000-0000-0000-000000000000}"/>
          </ac:spMkLst>
        </pc:spChg>
        <pc:grpChg chg="mod">
          <ac:chgData name="Andrew Sharp" userId="53f178df-da21-4936-8a93-86de9258956d" providerId="ADAL" clId="{0C248C7E-5B4F-4D11-9379-C3CCEE5B67A0}" dt="2018-11-03T16:03:00.257" v="28095" actId="1076"/>
          <ac:grpSpMkLst>
            <pc:docMk/>
            <pc:sldMk cId="3321902392" sldId="561"/>
            <ac:grpSpMk id="63" creationId="{00000000-0000-0000-0000-000000000000}"/>
          </ac:grpSpMkLst>
        </pc:grpChg>
        <pc:picChg chg="mod">
          <ac:chgData name="Andrew Sharp" userId="53f178df-da21-4936-8a93-86de9258956d" providerId="ADAL" clId="{0C248C7E-5B4F-4D11-9379-C3CCEE5B67A0}" dt="2018-10-25T13:30:03.027" v="19794" actId="1076"/>
          <ac:picMkLst>
            <pc:docMk/>
            <pc:sldMk cId="3321902392" sldId="561"/>
            <ac:picMk id="3" creationId="{00000000-0000-0000-0000-000000000000}"/>
          </ac:picMkLst>
        </pc:picChg>
        <pc:picChg chg="add mod">
          <ac:chgData name="Andrew Sharp" userId="53f178df-da21-4936-8a93-86de9258956d" providerId="ADAL" clId="{0C248C7E-5B4F-4D11-9379-C3CCEE5B67A0}" dt="2018-10-25T13:30:00.501" v="19793" actId="1076"/>
          <ac:picMkLst>
            <pc:docMk/>
            <pc:sldMk cId="3321902392" sldId="561"/>
            <ac:picMk id="17" creationId="{3A7A9DB9-40DA-4D8A-AA94-98EF4EB2B93A}"/>
          </ac:picMkLst>
        </pc:picChg>
        <pc:picChg chg="mod">
          <ac:chgData name="Andrew Sharp" userId="53f178df-da21-4936-8a93-86de9258956d" providerId="ADAL" clId="{0C248C7E-5B4F-4D11-9379-C3CCEE5B67A0}" dt="2018-11-05T14:23:23.239" v="30614" actId="1076"/>
          <ac:picMkLst>
            <pc:docMk/>
            <pc:sldMk cId="3321902392" sldId="561"/>
            <ac:picMk id="54" creationId="{00000000-0000-0000-0000-000000000000}"/>
          </ac:picMkLst>
        </pc:picChg>
      </pc:sldChg>
      <pc:sldChg chg="addSp delSp modSp addCm delCm">
        <pc:chgData name="Andrew Sharp" userId="53f178df-da21-4936-8a93-86de9258956d" providerId="ADAL" clId="{0C248C7E-5B4F-4D11-9379-C3CCEE5B67A0}" dt="2018-11-08T18:22:49.435" v="41016" actId="1592"/>
        <pc:sldMkLst>
          <pc:docMk/>
          <pc:sldMk cId="2268288028" sldId="562"/>
        </pc:sldMkLst>
        <pc:spChg chg="mod">
          <ac:chgData name="Andrew Sharp" userId="53f178df-da21-4936-8a93-86de9258956d" providerId="ADAL" clId="{0C248C7E-5B4F-4D11-9379-C3CCEE5B67A0}" dt="2018-10-26T12:59:31.052" v="21035" actId="14100"/>
          <ac:spMkLst>
            <pc:docMk/>
            <pc:sldMk cId="2268288028" sldId="562"/>
            <ac:spMk id="6" creationId="{00000000-0000-0000-0000-000000000000}"/>
          </ac:spMkLst>
        </pc:spChg>
        <pc:spChg chg="del mod">
          <ac:chgData name="Andrew Sharp" userId="53f178df-da21-4936-8a93-86de9258956d" providerId="ADAL" clId="{0C248C7E-5B4F-4D11-9379-C3CCEE5B67A0}" dt="2018-10-26T17:36:17.513" v="24414" actId="478"/>
          <ac:spMkLst>
            <pc:docMk/>
            <pc:sldMk cId="2268288028" sldId="562"/>
            <ac:spMk id="10" creationId="{00000000-0000-0000-0000-000000000000}"/>
          </ac:spMkLst>
        </pc:spChg>
        <pc:picChg chg="add mod modCrop">
          <ac:chgData name="Andrew Sharp" userId="53f178df-da21-4936-8a93-86de9258956d" providerId="ADAL" clId="{0C248C7E-5B4F-4D11-9379-C3CCEE5B67A0}" dt="2018-11-02T21:18:28.787" v="26729" actId="14100"/>
          <ac:picMkLst>
            <pc:docMk/>
            <pc:sldMk cId="2268288028" sldId="562"/>
            <ac:picMk id="2" creationId="{3514392C-C457-45F4-BEDC-748FEAFA20E2}"/>
          </ac:picMkLst>
        </pc:picChg>
      </pc:sldChg>
      <pc:sldChg chg="addSp delSp modSp addCm delCm modCm">
        <pc:chgData name="Andrew Sharp" userId="53f178df-da21-4936-8a93-86de9258956d" providerId="ADAL" clId="{0C248C7E-5B4F-4D11-9379-C3CCEE5B67A0}" dt="2018-11-08T18:44:46.694" v="41322" actId="1592"/>
        <pc:sldMkLst>
          <pc:docMk/>
          <pc:sldMk cId="369337023" sldId="563"/>
        </pc:sldMkLst>
        <pc:spChg chg="mod">
          <ac:chgData name="Andrew Sharp" userId="53f178df-da21-4936-8a93-86de9258956d" providerId="ADAL" clId="{0C248C7E-5B4F-4D11-9379-C3CCEE5B67A0}" dt="2018-11-02T21:16:41.178" v="26717" actId="20577"/>
          <ac:spMkLst>
            <pc:docMk/>
            <pc:sldMk cId="369337023" sldId="563"/>
            <ac:spMk id="2" creationId="{00000000-0000-0000-0000-000000000000}"/>
          </ac:spMkLst>
        </pc:spChg>
        <pc:spChg chg="mod">
          <ac:chgData name="Andrew Sharp" userId="53f178df-da21-4936-8a93-86de9258956d" providerId="ADAL" clId="{0C248C7E-5B4F-4D11-9379-C3CCEE5B67A0}" dt="2018-10-26T15:03:15.041" v="23230" actId="20577"/>
          <ac:spMkLst>
            <pc:docMk/>
            <pc:sldMk cId="369337023" sldId="563"/>
            <ac:spMk id="6" creationId="{00000000-0000-0000-0000-000000000000}"/>
          </ac:spMkLst>
        </pc:spChg>
        <pc:spChg chg="mod">
          <ac:chgData name="Andrew Sharp" userId="53f178df-da21-4936-8a93-86de9258956d" providerId="ADAL" clId="{0C248C7E-5B4F-4D11-9379-C3CCEE5B67A0}" dt="2018-10-26T14:37:18.269" v="23104" actId="20577"/>
          <ac:spMkLst>
            <pc:docMk/>
            <pc:sldMk cId="369337023" sldId="563"/>
            <ac:spMk id="9" creationId="{00000000-0000-0000-0000-000000000000}"/>
          </ac:spMkLst>
        </pc:spChg>
        <pc:spChg chg="mod">
          <ac:chgData name="Andrew Sharp" userId="53f178df-da21-4936-8a93-86de9258956d" providerId="ADAL" clId="{0C248C7E-5B4F-4D11-9379-C3CCEE5B67A0}" dt="2018-10-26T15:02:55.263" v="23179" actId="14100"/>
          <ac:spMkLst>
            <pc:docMk/>
            <pc:sldMk cId="369337023" sldId="563"/>
            <ac:spMk id="10" creationId="{00000000-0000-0000-0000-000000000000}"/>
          </ac:spMkLst>
        </pc:spChg>
        <pc:spChg chg="mod">
          <ac:chgData name="Andrew Sharp" userId="53f178df-da21-4936-8a93-86de9258956d" providerId="ADAL" clId="{0C248C7E-5B4F-4D11-9379-C3CCEE5B67A0}" dt="2018-10-26T15:25:03.763" v="24168" actId="1076"/>
          <ac:spMkLst>
            <pc:docMk/>
            <pc:sldMk cId="369337023" sldId="563"/>
            <ac:spMk id="13" creationId="{00000000-0000-0000-0000-000000000000}"/>
          </ac:spMkLst>
        </pc:spChg>
        <pc:spChg chg="mod topLvl">
          <ac:chgData name="Andrew Sharp" userId="53f178df-da21-4936-8a93-86de9258956d" providerId="ADAL" clId="{0C248C7E-5B4F-4D11-9379-C3CCEE5B67A0}" dt="2018-10-26T15:25:00.358" v="24167" actId="1076"/>
          <ac:spMkLst>
            <pc:docMk/>
            <pc:sldMk cId="369337023" sldId="563"/>
            <ac:spMk id="16" creationId="{00000000-0000-0000-0000-000000000000}"/>
          </ac:spMkLst>
        </pc:spChg>
        <pc:spChg chg="del">
          <ac:chgData name="Andrew Sharp" userId="53f178df-da21-4936-8a93-86de9258956d" providerId="ADAL" clId="{0C248C7E-5B4F-4D11-9379-C3CCEE5B67A0}" dt="2018-10-26T14:42:57.006" v="23135" actId="478"/>
          <ac:spMkLst>
            <pc:docMk/>
            <pc:sldMk cId="369337023" sldId="563"/>
            <ac:spMk id="17" creationId="{00000000-0000-0000-0000-000000000000}"/>
          </ac:spMkLst>
        </pc:spChg>
        <pc:grpChg chg="del">
          <ac:chgData name="Andrew Sharp" userId="53f178df-da21-4936-8a93-86de9258956d" providerId="ADAL" clId="{0C248C7E-5B4F-4D11-9379-C3CCEE5B67A0}" dt="2018-10-26T14:42:58.355" v="23136" actId="478"/>
          <ac:grpSpMkLst>
            <pc:docMk/>
            <pc:sldMk cId="369337023" sldId="563"/>
            <ac:grpSpMk id="14" creationId="{00000000-0000-0000-0000-000000000000}"/>
          </ac:grpSpMkLst>
        </pc:grpChg>
        <pc:grpChg chg="mod">
          <ac:chgData name="Andrew Sharp" userId="53f178df-da21-4936-8a93-86de9258956d" providerId="ADAL" clId="{0C248C7E-5B4F-4D11-9379-C3CCEE5B67A0}" dt="2018-11-08T18:23:47.854" v="41025" actId="1036"/>
          <ac:grpSpMkLst>
            <pc:docMk/>
            <pc:sldMk cId="369337023" sldId="563"/>
            <ac:grpSpMk id="18" creationId="{00000000-0000-0000-0000-000000000000}"/>
          </ac:grpSpMkLst>
        </pc:grpChg>
        <pc:grpChg chg="mod">
          <ac:chgData name="Andrew Sharp" userId="53f178df-da21-4936-8a93-86de9258956d" providerId="ADAL" clId="{0C248C7E-5B4F-4D11-9379-C3CCEE5B67A0}" dt="2018-10-26T14:47:37.776" v="23160" actId="1076"/>
          <ac:grpSpMkLst>
            <pc:docMk/>
            <pc:sldMk cId="369337023" sldId="563"/>
            <ac:grpSpMk id="19" creationId="{00000000-0000-0000-0000-000000000000}"/>
          </ac:grpSpMkLst>
        </pc:grpChg>
        <pc:picChg chg="mod">
          <ac:chgData name="Andrew Sharp" userId="53f178df-da21-4936-8a93-86de9258956d" providerId="ADAL" clId="{0C248C7E-5B4F-4D11-9379-C3CCEE5B67A0}" dt="2018-10-26T15:02:48.972" v="23178" actId="1076"/>
          <ac:picMkLst>
            <pc:docMk/>
            <pc:sldMk cId="369337023" sldId="563"/>
            <ac:picMk id="11" creationId="{00000000-0000-0000-0000-000000000000}"/>
          </ac:picMkLst>
        </pc:picChg>
        <pc:picChg chg="add del mod ord">
          <ac:chgData name="Andrew Sharp" userId="53f178df-da21-4936-8a93-86de9258956d" providerId="ADAL" clId="{0C248C7E-5B4F-4D11-9379-C3CCEE5B67A0}" dt="2018-10-26T14:47:20.287" v="23155" actId="478"/>
          <ac:picMkLst>
            <pc:docMk/>
            <pc:sldMk cId="369337023" sldId="563"/>
            <ac:picMk id="12" creationId="{54F9D939-1AFB-41EF-BA82-80B6E5E8B0C4}"/>
          </ac:picMkLst>
        </pc:picChg>
        <pc:picChg chg="del topLvl">
          <ac:chgData name="Andrew Sharp" userId="53f178df-da21-4936-8a93-86de9258956d" providerId="ADAL" clId="{0C248C7E-5B4F-4D11-9379-C3CCEE5B67A0}" dt="2018-10-26T14:42:58.355" v="23136" actId="478"/>
          <ac:picMkLst>
            <pc:docMk/>
            <pc:sldMk cId="369337023" sldId="563"/>
            <ac:picMk id="15" creationId="{00000000-0000-0000-0000-000000000000}"/>
          </ac:picMkLst>
        </pc:picChg>
        <pc:picChg chg="add mod ord modCrop">
          <ac:chgData name="Andrew Sharp" userId="53f178df-da21-4936-8a93-86de9258956d" providerId="ADAL" clId="{0C248C7E-5B4F-4D11-9379-C3CCEE5B67A0}" dt="2018-11-02T21:16:20.693" v="26682" actId="208"/>
          <ac:picMkLst>
            <pc:docMk/>
            <pc:sldMk cId="369337023" sldId="563"/>
            <ac:picMk id="22" creationId="{363A2DA2-8635-41DE-A75B-22A48FE18B66}"/>
          </ac:picMkLst>
        </pc:picChg>
      </pc:sldChg>
      <pc:sldChg chg="modSp delCm">
        <pc:chgData name="Andrew Sharp" userId="53f178df-da21-4936-8a93-86de9258956d" providerId="ADAL" clId="{0C248C7E-5B4F-4D11-9379-C3CCEE5B67A0}" dt="2018-11-12T18:07:04.051" v="42082" actId="20577"/>
        <pc:sldMkLst>
          <pc:docMk/>
          <pc:sldMk cId="517042804" sldId="564"/>
        </pc:sldMkLst>
        <pc:spChg chg="mod">
          <ac:chgData name="Andrew Sharp" userId="53f178df-da21-4936-8a93-86de9258956d" providerId="ADAL" clId="{0C248C7E-5B4F-4D11-9379-C3CCEE5B67A0}" dt="2018-11-08T18:47:53.021" v="41609" actId="20577"/>
          <ac:spMkLst>
            <pc:docMk/>
            <pc:sldMk cId="517042804" sldId="564"/>
            <ac:spMk id="2" creationId="{00000000-0000-0000-0000-000000000000}"/>
          </ac:spMkLst>
        </pc:spChg>
        <pc:spChg chg="mod">
          <ac:chgData name="Andrew Sharp" userId="53f178df-da21-4936-8a93-86de9258956d" providerId="ADAL" clId="{0C248C7E-5B4F-4D11-9379-C3CCEE5B67A0}" dt="2018-11-12T18:07:04.051" v="42082" actId="20577"/>
          <ac:spMkLst>
            <pc:docMk/>
            <pc:sldMk cId="517042804" sldId="564"/>
            <ac:spMk id="26" creationId="{00000000-0000-0000-0000-000000000000}"/>
          </ac:spMkLst>
        </pc:spChg>
      </pc:sldChg>
      <pc:sldChg chg="addSp delSp modSp delCm">
        <pc:chgData name="Andrew Sharp" userId="53f178df-da21-4936-8a93-86de9258956d" providerId="ADAL" clId="{0C248C7E-5B4F-4D11-9379-C3CCEE5B67A0}" dt="2018-11-12T18:07:08.830" v="42084" actId="20577"/>
        <pc:sldMkLst>
          <pc:docMk/>
          <pc:sldMk cId="2357012407" sldId="565"/>
        </pc:sldMkLst>
        <pc:spChg chg="mod">
          <ac:chgData name="Andrew Sharp" userId="53f178df-da21-4936-8a93-86de9258956d" providerId="ADAL" clId="{0C248C7E-5B4F-4D11-9379-C3CCEE5B67A0}" dt="2018-10-25T13:25:49.036" v="19690" actId="20577"/>
          <ac:spMkLst>
            <pc:docMk/>
            <pc:sldMk cId="2357012407" sldId="565"/>
            <ac:spMk id="2" creationId="{00000000-0000-0000-0000-000000000000}"/>
          </ac:spMkLst>
        </pc:spChg>
        <pc:spChg chg="mod">
          <ac:chgData name="Andrew Sharp" userId="53f178df-da21-4936-8a93-86de9258956d" providerId="ADAL" clId="{0C248C7E-5B4F-4D11-9379-C3CCEE5B67A0}" dt="2018-10-25T13:22:09.193" v="19241" actId="20577"/>
          <ac:spMkLst>
            <pc:docMk/>
            <pc:sldMk cId="2357012407" sldId="565"/>
            <ac:spMk id="3" creationId="{00000000-0000-0000-0000-000000000000}"/>
          </ac:spMkLst>
        </pc:spChg>
        <pc:spChg chg="mod">
          <ac:chgData name="Andrew Sharp" userId="53f178df-da21-4936-8a93-86de9258956d" providerId="ADAL" clId="{0C248C7E-5B4F-4D11-9379-C3CCEE5B67A0}" dt="2018-11-12T18:07:08.830" v="42084" actId="20577"/>
          <ac:spMkLst>
            <pc:docMk/>
            <pc:sldMk cId="2357012407" sldId="565"/>
            <ac:spMk id="4" creationId="{00000000-0000-0000-0000-000000000000}"/>
          </ac:spMkLst>
        </pc:spChg>
        <pc:spChg chg="del mod">
          <ac:chgData name="Andrew Sharp" userId="53f178df-da21-4936-8a93-86de9258956d" providerId="ADAL" clId="{0C248C7E-5B4F-4D11-9379-C3CCEE5B67A0}" dt="2018-10-25T12:47:49.975" v="17592" actId="478"/>
          <ac:spMkLst>
            <pc:docMk/>
            <pc:sldMk cId="2357012407" sldId="565"/>
            <ac:spMk id="5" creationId="{00000000-0000-0000-0000-000000000000}"/>
          </ac:spMkLst>
        </pc:spChg>
        <pc:spChg chg="del mod">
          <ac:chgData name="Andrew Sharp" userId="53f178df-da21-4936-8a93-86de9258956d" providerId="ADAL" clId="{0C248C7E-5B4F-4D11-9379-C3CCEE5B67A0}" dt="2018-10-25T12:47:49.975" v="17592" actId="478"/>
          <ac:spMkLst>
            <pc:docMk/>
            <pc:sldMk cId="2357012407" sldId="565"/>
            <ac:spMk id="6" creationId="{00000000-0000-0000-0000-000000000000}"/>
          </ac:spMkLst>
        </pc:spChg>
        <pc:spChg chg="mod">
          <ac:chgData name="Andrew Sharp" userId="53f178df-da21-4936-8a93-86de9258956d" providerId="ADAL" clId="{0C248C7E-5B4F-4D11-9379-C3CCEE5B67A0}" dt="2018-10-25T13:04:05.433" v="18575" actId="20577"/>
          <ac:spMkLst>
            <pc:docMk/>
            <pc:sldMk cId="2357012407" sldId="565"/>
            <ac:spMk id="7" creationId="{00000000-0000-0000-0000-000000000000}"/>
          </ac:spMkLst>
        </pc:spChg>
        <pc:spChg chg="mod">
          <ac:chgData name="Andrew Sharp" userId="53f178df-da21-4936-8a93-86de9258956d" providerId="ADAL" clId="{0C248C7E-5B4F-4D11-9379-C3CCEE5B67A0}" dt="2018-10-24T22:33:39.253" v="16123" actId="1076"/>
          <ac:spMkLst>
            <pc:docMk/>
            <pc:sldMk cId="2357012407" sldId="565"/>
            <ac:spMk id="8" creationId="{00000000-0000-0000-0000-000000000000}"/>
          </ac:spMkLst>
        </pc:spChg>
        <pc:spChg chg="del mod ord">
          <ac:chgData name="Andrew Sharp" userId="53f178df-da21-4936-8a93-86de9258956d" providerId="ADAL" clId="{0C248C7E-5B4F-4D11-9379-C3CCEE5B67A0}" dt="2018-10-25T13:28:01.783" v="19708" actId="478"/>
          <ac:spMkLst>
            <pc:docMk/>
            <pc:sldMk cId="2357012407" sldId="565"/>
            <ac:spMk id="10" creationId="{00000000-0000-0000-0000-000000000000}"/>
          </ac:spMkLst>
        </pc:spChg>
        <pc:spChg chg="mod">
          <ac:chgData name="Andrew Sharp" userId="53f178df-da21-4936-8a93-86de9258956d" providerId="ADAL" clId="{0C248C7E-5B4F-4D11-9379-C3CCEE5B67A0}" dt="2018-10-24T22:37:45.782" v="16381" actId="14100"/>
          <ac:spMkLst>
            <pc:docMk/>
            <pc:sldMk cId="2357012407" sldId="565"/>
            <ac:spMk id="13" creationId="{1AEA7F92-7BDE-4CDE-9967-8B95169F4FB1}"/>
          </ac:spMkLst>
        </pc:spChg>
        <pc:spChg chg="mod topLvl">
          <ac:chgData name="Andrew Sharp" userId="53f178df-da21-4936-8a93-86de9258956d" providerId="ADAL" clId="{0C248C7E-5B4F-4D11-9379-C3CCEE5B67A0}" dt="2018-10-24T22:49:21.186" v="17445" actId="1076"/>
          <ac:spMkLst>
            <pc:docMk/>
            <pc:sldMk cId="2357012407" sldId="565"/>
            <ac:spMk id="37" creationId="{BE49AACE-610D-4490-BC36-02EBC7335981}"/>
          </ac:spMkLst>
        </pc:spChg>
        <pc:spChg chg="mod">
          <ac:chgData name="Andrew Sharp" userId="53f178df-da21-4936-8a93-86de9258956d" providerId="ADAL" clId="{0C248C7E-5B4F-4D11-9379-C3CCEE5B67A0}" dt="2018-10-25T12:49:35.250" v="17673" actId="1076"/>
          <ac:spMkLst>
            <pc:docMk/>
            <pc:sldMk cId="2357012407" sldId="565"/>
            <ac:spMk id="49" creationId="{F5AA2F22-47F7-4C1D-8FDC-9898DD9CF4C1}"/>
          </ac:spMkLst>
        </pc:spChg>
        <pc:spChg chg="mod">
          <ac:chgData name="Andrew Sharp" userId="53f178df-da21-4936-8a93-86de9258956d" providerId="ADAL" clId="{0C248C7E-5B4F-4D11-9379-C3CCEE5B67A0}" dt="2018-10-24T22:47:16.360" v="17206" actId="1076"/>
          <ac:spMkLst>
            <pc:docMk/>
            <pc:sldMk cId="2357012407" sldId="565"/>
            <ac:spMk id="56" creationId="{370863CE-B614-4E1B-92B6-704D2649A4EE}"/>
          </ac:spMkLst>
        </pc:spChg>
        <pc:spChg chg="mod">
          <ac:chgData name="Andrew Sharp" userId="53f178df-da21-4936-8a93-86de9258956d" providerId="ADAL" clId="{0C248C7E-5B4F-4D11-9379-C3CCEE5B67A0}" dt="2018-10-26T13:02:06.272" v="21048" actId="1076"/>
          <ac:spMkLst>
            <pc:docMk/>
            <pc:sldMk cId="2357012407" sldId="565"/>
            <ac:spMk id="64" creationId="{E0880DF7-5676-4B8C-9FBC-966BDA78CDAA}"/>
          </ac:spMkLst>
        </pc:spChg>
        <pc:spChg chg="mod">
          <ac:chgData name="Andrew Sharp" userId="53f178df-da21-4936-8a93-86de9258956d" providerId="ADAL" clId="{0C248C7E-5B4F-4D11-9379-C3CCEE5B67A0}" dt="2018-10-26T13:02:11.856" v="21049" actId="1076"/>
          <ac:spMkLst>
            <pc:docMk/>
            <pc:sldMk cId="2357012407" sldId="565"/>
            <ac:spMk id="71" creationId="{1DA2D2DF-FE2E-4309-A59F-3E7D242A586E}"/>
          </ac:spMkLst>
        </pc:spChg>
        <pc:spChg chg="mod">
          <ac:chgData name="Andrew Sharp" userId="53f178df-da21-4936-8a93-86de9258956d" providerId="ADAL" clId="{0C248C7E-5B4F-4D11-9379-C3CCEE5B67A0}" dt="2018-10-24T22:50:25.248" v="17547" actId="20577"/>
          <ac:spMkLst>
            <pc:docMk/>
            <pc:sldMk cId="2357012407" sldId="565"/>
            <ac:spMk id="84" creationId="{20507E3C-AB98-4E9B-9C2A-B0C27034CFA5}"/>
          </ac:spMkLst>
        </pc:spChg>
        <pc:grpChg chg="add mod">
          <ac:chgData name="Andrew Sharp" userId="53f178df-da21-4936-8a93-86de9258956d" providerId="ADAL" clId="{0C248C7E-5B4F-4D11-9379-C3CCEE5B67A0}" dt="2018-10-24T22:36:14.436" v="16301" actId="164"/>
          <ac:grpSpMkLst>
            <pc:docMk/>
            <pc:sldMk cId="2357012407" sldId="565"/>
            <ac:grpSpMk id="12" creationId="{E014CD09-2022-4EB3-A726-25097E28FB7A}"/>
          </ac:grpSpMkLst>
        </pc:grpChg>
        <pc:grpChg chg="add mod">
          <ac:chgData name="Andrew Sharp" userId="53f178df-da21-4936-8a93-86de9258956d" providerId="ADAL" clId="{0C248C7E-5B4F-4D11-9379-C3CCEE5B67A0}" dt="2018-10-24T22:36:22.026" v="16306" actId="1037"/>
          <ac:grpSpMkLst>
            <pc:docMk/>
            <pc:sldMk cId="2357012407" sldId="565"/>
            <ac:grpSpMk id="29" creationId="{0068E135-EF5E-4B91-BCF8-565E71F0C83E}"/>
          </ac:grpSpMkLst>
        </pc:grpChg>
        <pc:grpChg chg="add del mod">
          <ac:chgData name="Andrew Sharp" userId="53f178df-da21-4936-8a93-86de9258956d" providerId="ADAL" clId="{0C248C7E-5B4F-4D11-9379-C3CCEE5B67A0}" dt="2018-10-24T22:38:39.125" v="16496" actId="478"/>
          <ac:grpSpMkLst>
            <pc:docMk/>
            <pc:sldMk cId="2357012407" sldId="565"/>
            <ac:grpSpMk id="33" creationId="{B1F6AE32-CD15-420A-9B15-81E7ECAADEDC}"/>
          </ac:grpSpMkLst>
        </pc:grpChg>
        <pc:grpChg chg="del mod">
          <ac:chgData name="Andrew Sharp" userId="53f178df-da21-4936-8a93-86de9258956d" providerId="ADAL" clId="{0C248C7E-5B4F-4D11-9379-C3CCEE5B67A0}" dt="2018-10-24T22:38:36.171" v="16495" actId="478"/>
          <ac:grpSpMkLst>
            <pc:docMk/>
            <pc:sldMk cId="2357012407" sldId="565"/>
            <ac:grpSpMk id="34" creationId="{EC7DC506-EC80-4969-BA93-931F64000890}"/>
          </ac:grpSpMkLst>
        </pc:grpChg>
        <pc:grpChg chg="add mod">
          <ac:chgData name="Andrew Sharp" userId="53f178df-da21-4936-8a93-86de9258956d" providerId="ADAL" clId="{0C248C7E-5B4F-4D11-9379-C3CCEE5B67A0}" dt="2018-10-24T22:49:21.186" v="17445" actId="1076"/>
          <ac:grpSpMkLst>
            <pc:docMk/>
            <pc:sldMk cId="2357012407" sldId="565"/>
            <ac:grpSpMk id="45" creationId="{F656430F-4339-41C9-965B-33C83C19F18B}"/>
          </ac:grpSpMkLst>
        </pc:grpChg>
        <pc:grpChg chg="del mod">
          <ac:chgData name="Andrew Sharp" userId="53f178df-da21-4936-8a93-86de9258956d" providerId="ADAL" clId="{0C248C7E-5B4F-4D11-9379-C3CCEE5B67A0}" dt="2018-10-24T22:39:08.991" v="16506" actId="478"/>
          <ac:grpSpMkLst>
            <pc:docMk/>
            <pc:sldMk cId="2357012407" sldId="565"/>
            <ac:grpSpMk id="46" creationId="{3ED5D88F-9F22-4A2B-90EB-190E154A5393}"/>
          </ac:grpSpMkLst>
        </pc:grpChg>
        <pc:grpChg chg="add mod">
          <ac:chgData name="Andrew Sharp" userId="53f178df-da21-4936-8a93-86de9258956d" providerId="ADAL" clId="{0C248C7E-5B4F-4D11-9379-C3CCEE5B67A0}" dt="2018-10-24T22:49:21.186" v="17445" actId="1076"/>
          <ac:grpSpMkLst>
            <pc:docMk/>
            <pc:sldMk cId="2357012407" sldId="565"/>
            <ac:grpSpMk id="55" creationId="{233554B1-EEBB-4AF1-AD99-0F6F137726B7}"/>
          </ac:grpSpMkLst>
        </pc:grpChg>
        <pc:grpChg chg="add mod">
          <ac:chgData name="Andrew Sharp" userId="53f178df-da21-4936-8a93-86de9258956d" providerId="ADAL" clId="{0C248C7E-5B4F-4D11-9379-C3CCEE5B67A0}" dt="2018-10-24T22:44:49.312" v="17149" actId="1076"/>
          <ac:grpSpMkLst>
            <pc:docMk/>
            <pc:sldMk cId="2357012407" sldId="565"/>
            <ac:grpSpMk id="63" creationId="{BAB23031-2F35-4149-9139-D7CE7C8D6DED}"/>
          </ac:grpSpMkLst>
        </pc:grpChg>
        <pc:grpChg chg="add mod">
          <ac:chgData name="Andrew Sharp" userId="53f178df-da21-4936-8a93-86de9258956d" providerId="ADAL" clId="{0C248C7E-5B4F-4D11-9379-C3CCEE5B67A0}" dt="2018-10-24T22:48:15.782" v="17278" actId="1076"/>
          <ac:grpSpMkLst>
            <pc:docMk/>
            <pc:sldMk cId="2357012407" sldId="565"/>
            <ac:grpSpMk id="70" creationId="{C2100011-60CC-4E9F-9FD0-48CD9F522D7A}"/>
          </ac:grpSpMkLst>
        </pc:grpChg>
        <pc:grpChg chg="add mod">
          <ac:chgData name="Andrew Sharp" userId="53f178df-da21-4936-8a93-86de9258956d" providerId="ADAL" clId="{0C248C7E-5B4F-4D11-9379-C3CCEE5B67A0}" dt="2018-10-24T22:49:53.296" v="17469" actId="1076"/>
          <ac:grpSpMkLst>
            <pc:docMk/>
            <pc:sldMk cId="2357012407" sldId="565"/>
            <ac:grpSpMk id="83" creationId="{A2F102C6-CA1B-4FAD-B255-6D520CB4F3AE}"/>
          </ac:grpSpMkLst>
        </pc:grpChg>
        <pc:picChg chg="add mod">
          <ac:chgData name="Andrew Sharp" userId="53f178df-da21-4936-8a93-86de9258956d" providerId="ADAL" clId="{0C248C7E-5B4F-4D11-9379-C3CCEE5B67A0}" dt="2018-10-24T22:49:12.404" v="17444" actId="1076"/>
          <ac:picMkLst>
            <pc:docMk/>
            <pc:sldMk cId="2357012407" sldId="565"/>
            <ac:picMk id="11" creationId="{9DA25D35-7FF4-4DC2-884D-D2F1FF8BEE42}"/>
          </ac:picMkLst>
        </pc:picChg>
        <pc:cxnChg chg="mod">
          <ac:chgData name="Andrew Sharp" userId="53f178df-da21-4936-8a93-86de9258956d" providerId="ADAL" clId="{0C248C7E-5B4F-4D11-9379-C3CCEE5B67A0}" dt="2018-10-24T22:37:45.782" v="16381" actId="14100"/>
          <ac:cxnSpMkLst>
            <pc:docMk/>
            <pc:sldMk cId="2357012407" sldId="565"/>
            <ac:cxnSpMk id="14" creationId="{AEA63A69-4738-47AD-AD2E-4D18904A5582}"/>
          </ac:cxnSpMkLst>
        </pc:cxnChg>
        <pc:cxnChg chg="add mod">
          <ac:chgData name="Andrew Sharp" userId="53f178df-da21-4936-8a93-86de9258956d" providerId="ADAL" clId="{0C248C7E-5B4F-4D11-9379-C3CCEE5B67A0}" dt="2018-10-24T22:37:45.782" v="16381" actId="14100"/>
          <ac:cxnSpMkLst>
            <pc:docMk/>
            <pc:sldMk cId="2357012407" sldId="565"/>
            <ac:cxnSpMk id="22" creationId="{98DA4BEA-70B2-4A29-91E1-4F455B9F8547}"/>
          </ac:cxnSpMkLst>
        </pc:cxnChg>
        <pc:cxnChg chg="add mod">
          <ac:chgData name="Andrew Sharp" userId="53f178df-da21-4936-8a93-86de9258956d" providerId="ADAL" clId="{0C248C7E-5B4F-4D11-9379-C3CCEE5B67A0}" dt="2018-10-24T22:37:45.782" v="16381" actId="14100"/>
          <ac:cxnSpMkLst>
            <pc:docMk/>
            <pc:sldMk cId="2357012407" sldId="565"/>
            <ac:cxnSpMk id="23" creationId="{2726E127-37B3-4401-BA10-48679B73EE21}"/>
          </ac:cxnSpMkLst>
        </pc:cxnChg>
        <pc:cxnChg chg="del mod">
          <ac:chgData name="Andrew Sharp" userId="53f178df-da21-4936-8a93-86de9258956d" providerId="ADAL" clId="{0C248C7E-5B4F-4D11-9379-C3CCEE5B67A0}" dt="2018-10-24T22:38:07.500" v="16422" actId="478"/>
          <ac:cxnSpMkLst>
            <pc:docMk/>
            <pc:sldMk cId="2357012407" sldId="565"/>
            <ac:cxnSpMk id="35" creationId="{B82DF53D-1F11-4BE5-AA48-2043FE17D9E8}"/>
          </ac:cxnSpMkLst>
        </pc:cxnChg>
        <pc:cxnChg chg="del mod topLvl">
          <ac:chgData name="Andrew Sharp" userId="53f178df-da21-4936-8a93-86de9258956d" providerId="ADAL" clId="{0C248C7E-5B4F-4D11-9379-C3CCEE5B67A0}" dt="2018-10-24T22:38:39.125" v="16496" actId="478"/>
          <ac:cxnSpMkLst>
            <pc:docMk/>
            <pc:sldMk cId="2357012407" sldId="565"/>
            <ac:cxnSpMk id="36" creationId="{B082A49D-A91C-4FEB-B8C7-C99B2B14A4EC}"/>
          </ac:cxnSpMkLst>
        </pc:cxnChg>
        <pc:cxnChg chg="del mod">
          <ac:chgData name="Andrew Sharp" userId="53f178df-da21-4936-8a93-86de9258956d" providerId="ADAL" clId="{0C248C7E-5B4F-4D11-9379-C3CCEE5B67A0}" dt="2018-10-24T22:38:36.171" v="16495" actId="478"/>
          <ac:cxnSpMkLst>
            <pc:docMk/>
            <pc:sldMk cId="2357012407" sldId="565"/>
            <ac:cxnSpMk id="38" creationId="{94CF300F-C006-4630-BA2A-F2C368ACCF44}"/>
          </ac:cxnSpMkLst>
        </pc:cxnChg>
        <pc:cxnChg chg="del mod">
          <ac:chgData name="Andrew Sharp" userId="53f178df-da21-4936-8a93-86de9258956d" providerId="ADAL" clId="{0C248C7E-5B4F-4D11-9379-C3CCEE5B67A0}" dt="2018-10-24T22:39:11.326" v="16507" actId="478"/>
          <ac:cxnSpMkLst>
            <pc:docMk/>
            <pc:sldMk cId="2357012407" sldId="565"/>
            <ac:cxnSpMk id="47" creationId="{903F3FA4-AD60-4159-BF90-E09A6E97CBAA}"/>
          </ac:cxnSpMkLst>
        </pc:cxnChg>
        <pc:cxnChg chg="mod">
          <ac:chgData name="Andrew Sharp" userId="53f178df-da21-4936-8a93-86de9258956d" providerId="ADAL" clId="{0C248C7E-5B4F-4D11-9379-C3CCEE5B67A0}" dt="2018-10-25T12:49:49.172" v="17678" actId="14100"/>
          <ac:cxnSpMkLst>
            <pc:docMk/>
            <pc:sldMk cId="2357012407" sldId="565"/>
            <ac:cxnSpMk id="48" creationId="{900F6511-364A-4C90-BE8D-2CAB69445151}"/>
          </ac:cxnSpMkLst>
        </pc:cxnChg>
        <pc:cxnChg chg="del mod">
          <ac:chgData name="Andrew Sharp" userId="53f178df-da21-4936-8a93-86de9258956d" providerId="ADAL" clId="{0C248C7E-5B4F-4D11-9379-C3CCEE5B67A0}" dt="2018-10-24T22:39:08.991" v="16506" actId="478"/>
          <ac:cxnSpMkLst>
            <pc:docMk/>
            <pc:sldMk cId="2357012407" sldId="565"/>
            <ac:cxnSpMk id="50" creationId="{C4E79D91-2C5C-40AF-88A9-E4808E436B79}"/>
          </ac:cxnSpMkLst>
        </pc:cxnChg>
        <pc:cxnChg chg="mod">
          <ac:chgData name="Andrew Sharp" userId="53f178df-da21-4936-8a93-86de9258956d" providerId="ADAL" clId="{0C248C7E-5B4F-4D11-9379-C3CCEE5B67A0}" dt="2018-10-24T22:47:16.360" v="17206" actId="1076"/>
          <ac:cxnSpMkLst>
            <pc:docMk/>
            <pc:sldMk cId="2357012407" sldId="565"/>
            <ac:cxnSpMk id="57" creationId="{48B7B912-98B3-4B61-AF07-A37F03B0B245}"/>
          </ac:cxnSpMkLst>
        </pc:cxnChg>
        <pc:cxnChg chg="mod">
          <ac:chgData name="Andrew Sharp" userId="53f178df-da21-4936-8a93-86de9258956d" providerId="ADAL" clId="{0C248C7E-5B4F-4D11-9379-C3CCEE5B67A0}" dt="2018-10-26T13:02:18.968" v="21051" actId="14100"/>
          <ac:cxnSpMkLst>
            <pc:docMk/>
            <pc:sldMk cId="2357012407" sldId="565"/>
            <ac:cxnSpMk id="65" creationId="{47F26B09-6E14-4269-B026-0AACEC6D6D28}"/>
          </ac:cxnSpMkLst>
        </pc:cxnChg>
        <pc:cxnChg chg="mod">
          <ac:chgData name="Andrew Sharp" userId="53f178df-da21-4936-8a93-86de9258956d" providerId="ADAL" clId="{0C248C7E-5B4F-4D11-9379-C3CCEE5B67A0}" dt="2018-10-26T13:02:14.111" v="21050" actId="14100"/>
          <ac:cxnSpMkLst>
            <pc:docMk/>
            <pc:sldMk cId="2357012407" sldId="565"/>
            <ac:cxnSpMk id="72" creationId="{CF66B938-0F03-4768-B9B0-AD7824C51B3D}"/>
          </ac:cxnSpMkLst>
        </pc:cxnChg>
        <pc:cxnChg chg="mod">
          <ac:chgData name="Andrew Sharp" userId="53f178df-da21-4936-8a93-86de9258956d" providerId="ADAL" clId="{0C248C7E-5B4F-4D11-9379-C3CCEE5B67A0}" dt="2018-10-24T22:50:22.592" v="17535" actId="20577"/>
          <ac:cxnSpMkLst>
            <pc:docMk/>
            <pc:sldMk cId="2357012407" sldId="565"/>
            <ac:cxnSpMk id="85" creationId="{47D4B4F9-7B22-4F0B-BA2E-BB8825DDD778}"/>
          </ac:cxnSpMkLst>
        </pc:cxnChg>
        <pc:cxnChg chg="add mod">
          <ac:chgData name="Andrew Sharp" userId="53f178df-da21-4936-8a93-86de9258956d" providerId="ADAL" clId="{0C248C7E-5B4F-4D11-9379-C3CCEE5B67A0}" dt="2018-10-25T12:49:44.063" v="17677" actId="14100"/>
          <ac:cxnSpMkLst>
            <pc:docMk/>
            <pc:sldMk cId="2357012407" sldId="565"/>
            <ac:cxnSpMk id="90" creationId="{3579BF5F-46A8-4BCB-8B3A-83F305F08B80}"/>
          </ac:cxnSpMkLst>
        </pc:cxnChg>
      </pc:sldChg>
      <pc:sldChg chg="addSp delSp modSp delCm">
        <pc:chgData name="Andrew Sharp" userId="53f178df-da21-4936-8a93-86de9258956d" providerId="ADAL" clId="{0C248C7E-5B4F-4D11-9379-C3CCEE5B67A0}" dt="2018-11-12T18:07:22.397" v="42090" actId="20577"/>
        <pc:sldMkLst>
          <pc:docMk/>
          <pc:sldMk cId="984588445" sldId="566"/>
        </pc:sldMkLst>
        <pc:spChg chg="mod">
          <ac:chgData name="Andrew Sharp" userId="53f178df-da21-4936-8a93-86de9258956d" providerId="ADAL" clId="{0C248C7E-5B4F-4D11-9379-C3CCEE5B67A0}" dt="2018-11-08T18:49:16.749" v="41620" actId="1076"/>
          <ac:spMkLst>
            <pc:docMk/>
            <pc:sldMk cId="984588445" sldId="566"/>
            <ac:spMk id="4" creationId="{00000000-0000-0000-0000-000000000000}"/>
          </ac:spMkLst>
        </pc:spChg>
        <pc:spChg chg="mod">
          <ac:chgData name="Andrew Sharp" userId="53f178df-da21-4936-8a93-86de9258956d" providerId="ADAL" clId="{0C248C7E-5B4F-4D11-9379-C3CCEE5B67A0}" dt="2018-11-12T18:07:22.397" v="42090" actId="20577"/>
          <ac:spMkLst>
            <pc:docMk/>
            <pc:sldMk cId="984588445" sldId="566"/>
            <ac:spMk id="5" creationId="{00000000-0000-0000-0000-000000000000}"/>
          </ac:spMkLst>
        </pc:spChg>
        <pc:spChg chg="del">
          <ac:chgData name="Andrew Sharp" userId="53f178df-da21-4936-8a93-86de9258956d" providerId="ADAL" clId="{0C248C7E-5B4F-4D11-9379-C3CCEE5B67A0}" dt="2018-10-25T13:49:05.471" v="19820" actId="478"/>
          <ac:spMkLst>
            <pc:docMk/>
            <pc:sldMk cId="984588445" sldId="566"/>
            <ac:spMk id="7" creationId="{00000000-0000-0000-0000-000000000000}"/>
          </ac:spMkLst>
        </pc:spChg>
        <pc:spChg chg="add mod">
          <ac:chgData name="Andrew Sharp" userId="53f178df-da21-4936-8a93-86de9258956d" providerId="ADAL" clId="{0C248C7E-5B4F-4D11-9379-C3CCEE5B67A0}" dt="2018-11-08T18:56:50.159" v="41803" actId="113"/>
          <ac:spMkLst>
            <pc:docMk/>
            <pc:sldMk cId="984588445" sldId="566"/>
            <ac:spMk id="7" creationId="{64D37139-7D78-489F-A289-965DD7B21F55}"/>
          </ac:spMkLst>
        </pc:spChg>
        <pc:spChg chg="mod">
          <ac:chgData name="Andrew Sharp" userId="53f178df-da21-4936-8a93-86de9258956d" providerId="ADAL" clId="{0C248C7E-5B4F-4D11-9379-C3CCEE5B67A0}" dt="2018-11-08T18:49:16.749" v="41620" actId="1076"/>
          <ac:spMkLst>
            <pc:docMk/>
            <pc:sldMk cId="984588445" sldId="566"/>
            <ac:spMk id="8" creationId="{00000000-0000-0000-0000-000000000000}"/>
          </ac:spMkLst>
        </pc:spChg>
        <pc:spChg chg="mod">
          <ac:chgData name="Andrew Sharp" userId="53f178df-da21-4936-8a93-86de9258956d" providerId="ADAL" clId="{0C248C7E-5B4F-4D11-9379-C3CCEE5B67A0}" dt="2018-11-08T18:49:16.749" v="41620" actId="1076"/>
          <ac:spMkLst>
            <pc:docMk/>
            <pc:sldMk cId="984588445" sldId="566"/>
            <ac:spMk id="9" creationId="{00000000-0000-0000-0000-000000000000}"/>
          </ac:spMkLst>
        </pc:spChg>
        <pc:spChg chg="mod">
          <ac:chgData name="Andrew Sharp" userId="53f178df-da21-4936-8a93-86de9258956d" providerId="ADAL" clId="{0C248C7E-5B4F-4D11-9379-C3CCEE5B67A0}" dt="2018-11-08T18:49:16.749" v="41620" actId="1076"/>
          <ac:spMkLst>
            <pc:docMk/>
            <pc:sldMk cId="984588445" sldId="566"/>
            <ac:spMk id="10" creationId="{00000000-0000-0000-0000-000000000000}"/>
          </ac:spMkLst>
        </pc:spChg>
        <pc:spChg chg="mod">
          <ac:chgData name="Andrew Sharp" userId="53f178df-da21-4936-8a93-86de9258956d" providerId="ADAL" clId="{0C248C7E-5B4F-4D11-9379-C3CCEE5B67A0}" dt="2018-11-08T18:49:16.749" v="41620" actId="1076"/>
          <ac:spMkLst>
            <pc:docMk/>
            <pc:sldMk cId="984588445" sldId="566"/>
            <ac:spMk id="11" creationId="{00000000-0000-0000-0000-000000000000}"/>
          </ac:spMkLst>
        </pc:spChg>
        <pc:picChg chg="add del mod">
          <ac:chgData name="Andrew Sharp" userId="53f178df-da21-4936-8a93-86de9258956d" providerId="ADAL" clId="{0C248C7E-5B4F-4D11-9379-C3CCEE5B67A0}" dt="2018-10-25T13:51:37.868" v="19828" actId="478"/>
          <ac:picMkLst>
            <pc:docMk/>
            <pc:sldMk cId="984588445" sldId="566"/>
            <ac:picMk id="12" creationId="{0C5CFA28-329C-4119-B2AD-60AC59001959}"/>
          </ac:picMkLst>
        </pc:picChg>
        <pc:picChg chg="add mod">
          <ac:chgData name="Andrew Sharp" userId="53f178df-da21-4936-8a93-86de9258956d" providerId="ADAL" clId="{0C248C7E-5B4F-4D11-9379-C3CCEE5B67A0}" dt="2018-11-08T18:49:19.043" v="41621" actId="1076"/>
          <ac:picMkLst>
            <pc:docMk/>
            <pc:sldMk cId="984588445" sldId="566"/>
            <ac:picMk id="13" creationId="{CABABE77-F8D9-43FA-B8F2-C8F6611C2A7A}"/>
          </ac:picMkLst>
        </pc:picChg>
      </pc:sldChg>
      <pc:sldChg chg="addSp delSp modSp">
        <pc:chgData name="Andrew Sharp" userId="53f178df-da21-4936-8a93-86de9258956d" providerId="ADAL" clId="{0C248C7E-5B4F-4D11-9379-C3CCEE5B67A0}" dt="2018-11-12T18:07:13.577" v="42088" actId="20577"/>
        <pc:sldMkLst>
          <pc:docMk/>
          <pc:sldMk cId="1162913037" sldId="567"/>
        </pc:sldMkLst>
        <pc:spChg chg="mod">
          <ac:chgData name="Andrew Sharp" userId="53f178df-da21-4936-8a93-86de9258956d" providerId="ADAL" clId="{0C248C7E-5B4F-4D11-9379-C3CCEE5B67A0}" dt="2018-10-25T13:10:27.002" v="18914" actId="14100"/>
          <ac:spMkLst>
            <pc:docMk/>
            <pc:sldMk cId="1162913037" sldId="567"/>
            <ac:spMk id="2" creationId="{00000000-0000-0000-0000-000000000000}"/>
          </ac:spMkLst>
        </pc:spChg>
        <pc:spChg chg="mod">
          <ac:chgData name="Andrew Sharp" userId="53f178df-da21-4936-8a93-86de9258956d" providerId="ADAL" clId="{0C248C7E-5B4F-4D11-9379-C3CCEE5B67A0}" dt="2018-11-12T18:07:13.577" v="42088" actId="20577"/>
          <ac:spMkLst>
            <pc:docMk/>
            <pc:sldMk cId="1162913037" sldId="567"/>
            <ac:spMk id="4" creationId="{00000000-0000-0000-0000-000000000000}"/>
          </ac:spMkLst>
        </pc:spChg>
        <pc:spChg chg="del mod">
          <ac:chgData name="Andrew Sharp" userId="53f178df-da21-4936-8a93-86de9258956d" providerId="ADAL" clId="{0C248C7E-5B4F-4D11-9379-C3CCEE5B67A0}" dt="2018-10-25T13:03:22.446" v="18482" actId="478"/>
          <ac:spMkLst>
            <pc:docMk/>
            <pc:sldMk cId="1162913037" sldId="567"/>
            <ac:spMk id="7" creationId="{00000000-0000-0000-0000-000000000000}"/>
          </ac:spMkLst>
        </pc:spChg>
        <pc:spChg chg="del mod">
          <ac:chgData name="Andrew Sharp" userId="53f178df-da21-4936-8a93-86de9258956d" providerId="ADAL" clId="{0C248C7E-5B4F-4D11-9379-C3CCEE5B67A0}" dt="2018-10-25T13:03:22.446" v="18482" actId="478"/>
          <ac:spMkLst>
            <pc:docMk/>
            <pc:sldMk cId="1162913037" sldId="567"/>
            <ac:spMk id="8" creationId="{00000000-0000-0000-0000-000000000000}"/>
          </ac:spMkLst>
        </pc:spChg>
        <pc:spChg chg="del mod">
          <ac:chgData name="Andrew Sharp" userId="53f178df-da21-4936-8a93-86de9258956d" providerId="ADAL" clId="{0C248C7E-5B4F-4D11-9379-C3CCEE5B67A0}" dt="2018-10-25T13:03:22.446" v="18482" actId="478"/>
          <ac:spMkLst>
            <pc:docMk/>
            <pc:sldMk cId="1162913037" sldId="567"/>
            <ac:spMk id="9" creationId="{00000000-0000-0000-0000-000000000000}"/>
          </ac:spMkLst>
        </pc:spChg>
        <pc:spChg chg="del mod">
          <ac:chgData name="Andrew Sharp" userId="53f178df-da21-4936-8a93-86de9258956d" providerId="ADAL" clId="{0C248C7E-5B4F-4D11-9379-C3CCEE5B67A0}" dt="2018-10-25T13:03:22.446" v="18482" actId="478"/>
          <ac:spMkLst>
            <pc:docMk/>
            <pc:sldMk cId="1162913037" sldId="567"/>
            <ac:spMk id="10" creationId="{00000000-0000-0000-0000-000000000000}"/>
          </ac:spMkLst>
        </pc:spChg>
        <pc:spChg chg="del">
          <ac:chgData name="Andrew Sharp" userId="53f178df-da21-4936-8a93-86de9258956d" providerId="ADAL" clId="{0C248C7E-5B4F-4D11-9379-C3CCEE5B67A0}" dt="2018-10-25T13:03:25.001" v="18483" actId="478"/>
          <ac:spMkLst>
            <pc:docMk/>
            <pc:sldMk cId="1162913037" sldId="567"/>
            <ac:spMk id="11" creationId="{00000000-0000-0000-0000-000000000000}"/>
          </ac:spMkLst>
        </pc:spChg>
        <pc:spChg chg="add del">
          <ac:chgData name="Andrew Sharp" userId="53f178df-da21-4936-8a93-86de9258956d" providerId="ADAL" clId="{0C248C7E-5B4F-4D11-9379-C3CCEE5B67A0}" dt="2018-10-25T13:10:18.723" v="18897" actId="478"/>
          <ac:spMkLst>
            <pc:docMk/>
            <pc:sldMk cId="1162913037" sldId="567"/>
            <ac:spMk id="12" creationId="{6131AD83-DE37-4DAB-BB0C-8B908458EE1F}"/>
          </ac:spMkLst>
        </pc:spChg>
        <pc:spChg chg="mod">
          <ac:chgData name="Andrew Sharp" userId="53f178df-da21-4936-8a93-86de9258956d" providerId="ADAL" clId="{0C248C7E-5B4F-4D11-9379-C3CCEE5B67A0}" dt="2018-10-25T13:27:14.728" v="19704"/>
          <ac:spMkLst>
            <pc:docMk/>
            <pc:sldMk cId="1162913037" sldId="567"/>
            <ac:spMk id="14" creationId="{99198D44-B834-4D34-A908-2226CE6573B9}"/>
          </ac:spMkLst>
        </pc:spChg>
        <pc:spChg chg="add mod">
          <ac:chgData name="Andrew Sharp" userId="53f178df-da21-4936-8a93-86de9258956d" providerId="ADAL" clId="{0C248C7E-5B4F-4D11-9379-C3CCEE5B67A0}" dt="2018-10-25T13:26:59.482" v="19702" actId="20577"/>
          <ac:spMkLst>
            <pc:docMk/>
            <pc:sldMk cId="1162913037" sldId="567"/>
            <ac:spMk id="16" creationId="{5529FB54-FF44-49D7-9191-6958B5AD1DC5}"/>
          </ac:spMkLst>
        </pc:spChg>
        <pc:spChg chg="add mod">
          <ac:chgData name="Andrew Sharp" userId="53f178df-da21-4936-8a93-86de9258956d" providerId="ADAL" clId="{0C248C7E-5B4F-4D11-9379-C3CCEE5B67A0}" dt="2018-10-25T14:17:08.523" v="20330" actId="403"/>
          <ac:spMkLst>
            <pc:docMk/>
            <pc:sldMk cId="1162913037" sldId="567"/>
            <ac:spMk id="17" creationId="{1E0891FD-6624-4501-A32D-AAB046D0E348}"/>
          </ac:spMkLst>
        </pc:spChg>
        <pc:grpChg chg="add del mod">
          <ac:chgData name="Andrew Sharp" userId="53f178df-da21-4936-8a93-86de9258956d" providerId="ADAL" clId="{0C248C7E-5B4F-4D11-9379-C3CCEE5B67A0}" dt="2018-10-25T13:27:14.728" v="19704"/>
          <ac:grpSpMkLst>
            <pc:docMk/>
            <pc:sldMk cId="1162913037" sldId="567"/>
            <ac:grpSpMk id="13" creationId="{8239A3D1-EF80-470A-8C06-7C6BA72A1C52}"/>
          </ac:grpSpMkLst>
        </pc:grpChg>
        <pc:picChg chg="add mod">
          <ac:chgData name="Andrew Sharp" userId="53f178df-da21-4936-8a93-86de9258956d" providerId="ADAL" clId="{0C248C7E-5B4F-4D11-9379-C3CCEE5B67A0}" dt="2018-10-25T13:09:52.808" v="18884" actId="1076"/>
          <ac:picMkLst>
            <pc:docMk/>
            <pc:sldMk cId="1162913037" sldId="567"/>
            <ac:picMk id="6" creationId="{30074798-514C-4742-AA34-71E50BA4A95A}"/>
          </ac:picMkLst>
        </pc:picChg>
        <pc:cxnChg chg="del mod">
          <ac:chgData name="Andrew Sharp" userId="53f178df-da21-4936-8a93-86de9258956d" providerId="ADAL" clId="{0C248C7E-5B4F-4D11-9379-C3CCEE5B67A0}" dt="2018-10-25T13:27:14.728" v="19704"/>
          <ac:cxnSpMkLst>
            <pc:docMk/>
            <pc:sldMk cId="1162913037" sldId="567"/>
            <ac:cxnSpMk id="15" creationId="{01B9A0AE-5B70-4DF8-B43B-85467626DA79}"/>
          </ac:cxnSpMkLst>
        </pc:cxnChg>
        <pc:cxnChg chg="add mod">
          <ac:chgData name="Andrew Sharp" userId="53f178df-da21-4936-8a93-86de9258956d" providerId="ADAL" clId="{0C248C7E-5B4F-4D11-9379-C3CCEE5B67A0}" dt="2018-10-25T14:17:08.523" v="20330" actId="403"/>
          <ac:cxnSpMkLst>
            <pc:docMk/>
            <pc:sldMk cId="1162913037" sldId="567"/>
            <ac:cxnSpMk id="18" creationId="{B1E2407A-F371-43AC-B2D7-0E51E4125CC1}"/>
          </ac:cxnSpMkLst>
        </pc:cxnChg>
        <pc:cxnChg chg="add del">
          <ac:chgData name="Andrew Sharp" userId="53f178df-da21-4936-8a93-86de9258956d" providerId="ADAL" clId="{0C248C7E-5B4F-4D11-9379-C3CCEE5B67A0}" dt="2018-10-25T13:27:18.449" v="19706" actId="478"/>
          <ac:cxnSpMkLst>
            <pc:docMk/>
            <pc:sldMk cId="1162913037" sldId="567"/>
            <ac:cxnSpMk id="27" creationId="{41C4339F-5259-4028-B0D7-484199E33653}"/>
          </ac:cxnSpMkLst>
        </pc:cxnChg>
      </pc:sldChg>
      <pc:sldChg chg="addSp delSp modSp">
        <pc:chgData name="Andrew Sharp" userId="53f178df-da21-4936-8a93-86de9258956d" providerId="ADAL" clId="{0C248C7E-5B4F-4D11-9379-C3CCEE5B67A0}" dt="2018-11-05T21:02:10.019" v="39434" actId="20577"/>
        <pc:sldMkLst>
          <pc:docMk/>
          <pc:sldMk cId="1342432060" sldId="568"/>
        </pc:sldMkLst>
        <pc:spChg chg="mod">
          <ac:chgData name="Andrew Sharp" userId="53f178df-da21-4936-8a93-86de9258956d" providerId="ADAL" clId="{0C248C7E-5B4F-4D11-9379-C3CCEE5B67A0}" dt="2018-11-02T21:15:28.179" v="26673" actId="20577"/>
          <ac:spMkLst>
            <pc:docMk/>
            <pc:sldMk cId="1342432060" sldId="568"/>
            <ac:spMk id="7" creationId="{00000000-0000-0000-0000-000000000000}"/>
          </ac:spMkLst>
        </pc:spChg>
        <pc:grpChg chg="add del">
          <ac:chgData name="Andrew Sharp" userId="53f178df-da21-4936-8a93-86de9258956d" providerId="ADAL" clId="{0C248C7E-5B4F-4D11-9379-C3CCEE5B67A0}" dt="2018-11-03T15:45:16.214" v="27749"/>
          <ac:grpSpMkLst>
            <pc:docMk/>
            <pc:sldMk cId="1342432060" sldId="568"/>
            <ac:grpSpMk id="9" creationId="{2B05948D-0834-4F9E-B3C2-834128D8D116}"/>
          </ac:grpSpMkLst>
        </pc:grpChg>
        <pc:grpChg chg="mod">
          <ac:chgData name="Andrew Sharp" userId="53f178df-da21-4936-8a93-86de9258956d" providerId="ADAL" clId="{0C248C7E-5B4F-4D11-9379-C3CCEE5B67A0}" dt="2018-11-02T21:21:46.521" v="26798" actId="1076"/>
          <ac:grpSpMkLst>
            <pc:docMk/>
            <pc:sldMk cId="1342432060" sldId="568"/>
            <ac:grpSpMk id="17" creationId="{00000000-0000-0000-0000-000000000000}"/>
          </ac:grpSpMkLst>
        </pc:grpChg>
        <pc:graphicFrameChg chg="mod modGraphic">
          <ac:chgData name="Andrew Sharp" userId="53f178df-da21-4936-8a93-86de9258956d" providerId="ADAL" clId="{0C248C7E-5B4F-4D11-9379-C3CCEE5B67A0}" dt="2018-11-05T21:02:10.019" v="39434" actId="20577"/>
          <ac:graphicFrameMkLst>
            <pc:docMk/>
            <pc:sldMk cId="1342432060" sldId="568"/>
            <ac:graphicFrameMk id="11" creationId="{00000000-0000-0000-0000-000000000000}"/>
          </ac:graphicFrameMkLst>
        </pc:graphicFrameChg>
      </pc:sldChg>
      <pc:sldChg chg="addSp delSp modSp">
        <pc:chgData name="Andrew Sharp" userId="53f178df-da21-4936-8a93-86de9258956d" providerId="ADAL" clId="{0C248C7E-5B4F-4D11-9379-C3CCEE5B67A0}" dt="2018-11-05T21:04:04.349" v="39446" actId="20577"/>
        <pc:sldMkLst>
          <pc:docMk/>
          <pc:sldMk cId="4129315107" sldId="570"/>
        </pc:sldMkLst>
        <pc:spChg chg="mod">
          <ac:chgData name="Andrew Sharp" userId="53f178df-da21-4936-8a93-86de9258956d" providerId="ADAL" clId="{0C248C7E-5B4F-4D11-9379-C3CCEE5B67A0}" dt="2018-11-03T16:39:01.761" v="29714"/>
          <ac:spMkLst>
            <pc:docMk/>
            <pc:sldMk cId="4129315107" sldId="570"/>
            <ac:spMk id="2" creationId="{00000000-0000-0000-0000-000000000000}"/>
          </ac:spMkLst>
        </pc:spChg>
        <pc:spChg chg="mod">
          <ac:chgData name="Andrew Sharp" userId="53f178df-da21-4936-8a93-86de9258956d" providerId="ADAL" clId="{0C248C7E-5B4F-4D11-9379-C3CCEE5B67A0}" dt="2018-11-05T14:24:41.680" v="30638" actId="1035"/>
          <ac:spMkLst>
            <pc:docMk/>
            <pc:sldMk cId="4129315107" sldId="570"/>
            <ac:spMk id="4" creationId="{00000000-0000-0000-0000-000000000000}"/>
          </ac:spMkLst>
        </pc:spChg>
        <pc:spChg chg="mod">
          <ac:chgData name="Andrew Sharp" userId="53f178df-da21-4936-8a93-86de9258956d" providerId="ADAL" clId="{0C248C7E-5B4F-4D11-9379-C3CCEE5B67A0}" dt="2018-11-03T16:37:40.099" v="29702" actId="403"/>
          <ac:spMkLst>
            <pc:docMk/>
            <pc:sldMk cId="4129315107" sldId="570"/>
            <ac:spMk id="5" creationId="{00000000-0000-0000-0000-000000000000}"/>
          </ac:spMkLst>
        </pc:spChg>
        <pc:spChg chg="add del mod">
          <ac:chgData name="Andrew Sharp" userId="53f178df-da21-4936-8a93-86de9258956d" providerId="ADAL" clId="{0C248C7E-5B4F-4D11-9379-C3CCEE5B67A0}" dt="2018-11-03T16:46:45.897" v="29944"/>
          <ac:spMkLst>
            <pc:docMk/>
            <pc:sldMk cId="4129315107" sldId="570"/>
            <ac:spMk id="7" creationId="{C6136B06-4837-4F74-AED8-55175E075BA5}"/>
          </ac:spMkLst>
        </pc:spChg>
        <pc:spChg chg="add del mod">
          <ac:chgData name="Andrew Sharp" userId="53f178df-da21-4936-8a93-86de9258956d" providerId="ADAL" clId="{0C248C7E-5B4F-4D11-9379-C3CCEE5B67A0}" dt="2018-11-05T21:03:56.451" v="39436" actId="478"/>
          <ac:spMkLst>
            <pc:docMk/>
            <pc:sldMk cId="4129315107" sldId="570"/>
            <ac:spMk id="12" creationId="{BB53509B-7C53-4D75-A6A4-C66308629D06}"/>
          </ac:spMkLst>
        </pc:spChg>
        <pc:grpChg chg="del">
          <ac:chgData name="Andrew Sharp" userId="53f178df-da21-4936-8a93-86de9258956d" providerId="ADAL" clId="{0C248C7E-5B4F-4D11-9379-C3CCEE5B67A0}" dt="2018-11-03T16:07:20.475" v="28499"/>
          <ac:grpSpMkLst>
            <pc:docMk/>
            <pc:sldMk cId="4129315107" sldId="570"/>
            <ac:grpSpMk id="6" creationId="{00000000-0000-0000-0000-000000000000}"/>
          </ac:grpSpMkLst>
        </pc:grpChg>
        <pc:graphicFrameChg chg="add mod modGraphic">
          <ac:chgData name="Andrew Sharp" userId="53f178df-da21-4936-8a93-86de9258956d" providerId="ADAL" clId="{0C248C7E-5B4F-4D11-9379-C3CCEE5B67A0}" dt="2018-11-05T21:04:04.349" v="39446" actId="20577"/>
          <ac:graphicFrameMkLst>
            <pc:docMk/>
            <pc:sldMk cId="4129315107" sldId="570"/>
            <ac:graphicFrameMk id="11" creationId="{81AC7563-2B6F-4AE6-9658-E5C0078D4E06}"/>
          </ac:graphicFrameMkLst>
        </pc:graphicFrameChg>
        <pc:picChg chg="mod">
          <ac:chgData name="Andrew Sharp" userId="53f178df-da21-4936-8a93-86de9258956d" providerId="ADAL" clId="{0C248C7E-5B4F-4D11-9379-C3CCEE5B67A0}" dt="2018-11-05T14:24:41.680" v="30638" actId="1035"/>
          <ac:picMkLst>
            <pc:docMk/>
            <pc:sldMk cId="4129315107" sldId="570"/>
            <ac:picMk id="3" creationId="{00000000-0000-0000-0000-000000000000}"/>
          </ac:picMkLst>
        </pc:picChg>
      </pc:sldChg>
      <pc:sldChg chg="modSp ord addCm delCm">
        <pc:chgData name="Andrew Sharp" userId="53f178df-da21-4936-8a93-86de9258956d" providerId="ADAL" clId="{0C248C7E-5B4F-4D11-9379-C3CCEE5B67A0}" dt="2018-11-08T18:42:43.891" v="41318" actId="1592"/>
        <pc:sldMkLst>
          <pc:docMk/>
          <pc:sldMk cId="186277620" sldId="571"/>
        </pc:sldMkLst>
        <pc:spChg chg="mod">
          <ac:chgData name="Andrew Sharp" userId="53f178df-da21-4936-8a93-86de9258956d" providerId="ADAL" clId="{0C248C7E-5B4F-4D11-9379-C3CCEE5B67A0}" dt="2018-10-25T14:16:08.850" v="20328" actId="20577"/>
          <ac:spMkLst>
            <pc:docMk/>
            <pc:sldMk cId="186277620" sldId="571"/>
            <ac:spMk id="2" creationId="{00000000-0000-0000-0000-000000000000}"/>
          </ac:spMkLst>
        </pc:spChg>
        <pc:spChg chg="mod">
          <ac:chgData name="Andrew Sharp" userId="53f178df-da21-4936-8a93-86de9258956d" providerId="ADAL" clId="{0C248C7E-5B4F-4D11-9379-C3CCEE5B67A0}" dt="2018-10-26T15:19:20.969" v="23868" actId="20577"/>
          <ac:spMkLst>
            <pc:docMk/>
            <pc:sldMk cId="186277620" sldId="571"/>
            <ac:spMk id="3" creationId="{00000000-0000-0000-0000-000000000000}"/>
          </ac:spMkLst>
        </pc:spChg>
        <pc:spChg chg="mod">
          <ac:chgData name="Andrew Sharp" userId="53f178df-da21-4936-8a93-86de9258956d" providerId="ADAL" clId="{0C248C7E-5B4F-4D11-9379-C3CCEE5B67A0}" dt="2018-10-26T15:22:00.015" v="24164" actId="20577"/>
          <ac:spMkLst>
            <pc:docMk/>
            <pc:sldMk cId="186277620" sldId="571"/>
            <ac:spMk id="4" creationId="{00000000-0000-0000-0000-000000000000}"/>
          </ac:spMkLst>
        </pc:spChg>
        <pc:spChg chg="mod">
          <ac:chgData name="Andrew Sharp" userId="53f178df-da21-4936-8a93-86de9258956d" providerId="ADAL" clId="{0C248C7E-5B4F-4D11-9379-C3CCEE5B67A0}" dt="2018-10-26T15:14:26.470" v="23720" actId="20577"/>
          <ac:spMkLst>
            <pc:docMk/>
            <pc:sldMk cId="186277620" sldId="571"/>
            <ac:spMk id="7" creationId="{00000000-0000-0000-0000-000000000000}"/>
          </ac:spMkLst>
        </pc:spChg>
        <pc:picChg chg="mod">
          <ac:chgData name="Andrew Sharp" userId="53f178df-da21-4936-8a93-86de9258956d" providerId="ADAL" clId="{0C248C7E-5B4F-4D11-9379-C3CCEE5B67A0}" dt="2018-10-26T15:13:51.360" v="23689" actId="14100"/>
          <ac:picMkLst>
            <pc:docMk/>
            <pc:sldMk cId="186277620" sldId="571"/>
            <ac:picMk id="8" creationId="{00000000-0000-0000-0000-000000000000}"/>
          </ac:picMkLst>
        </pc:picChg>
      </pc:sldChg>
      <pc:sldChg chg="modSp addCm delCm modCm">
        <pc:chgData name="Andrew Sharp" userId="53f178df-da21-4936-8a93-86de9258956d" providerId="ADAL" clId="{0C248C7E-5B4F-4D11-9379-C3CCEE5B67A0}" dt="2018-11-02T17:53:27.860" v="26375" actId="1592"/>
        <pc:sldMkLst>
          <pc:docMk/>
          <pc:sldMk cId="2919632462" sldId="572"/>
        </pc:sldMkLst>
        <pc:spChg chg="mod">
          <ac:chgData name="Andrew Sharp" userId="53f178df-da21-4936-8a93-86de9258956d" providerId="ADAL" clId="{0C248C7E-5B4F-4D11-9379-C3CCEE5B67A0}" dt="2018-10-10T15:54:15.378" v="2962" actId="1076"/>
          <ac:spMkLst>
            <pc:docMk/>
            <pc:sldMk cId="2919632462" sldId="572"/>
            <ac:spMk id="24" creationId="{00000000-0000-0000-0000-000000000000}"/>
          </ac:spMkLst>
        </pc:spChg>
        <pc:spChg chg="mod">
          <ac:chgData name="Andrew Sharp" userId="53f178df-da21-4936-8a93-86de9258956d" providerId="ADAL" clId="{0C248C7E-5B4F-4D11-9379-C3CCEE5B67A0}" dt="2018-10-22T19:29:13.529" v="9472" actId="1076"/>
          <ac:spMkLst>
            <pc:docMk/>
            <pc:sldMk cId="2919632462" sldId="572"/>
            <ac:spMk id="29" creationId="{00000000-0000-0000-0000-000000000000}"/>
          </ac:spMkLst>
        </pc:spChg>
        <pc:grpChg chg="mod">
          <ac:chgData name="Andrew Sharp" userId="53f178df-da21-4936-8a93-86de9258956d" providerId="ADAL" clId="{0C248C7E-5B4F-4D11-9379-C3CCEE5B67A0}" dt="2018-10-22T19:29:10.045" v="9471" actId="1076"/>
          <ac:grpSpMkLst>
            <pc:docMk/>
            <pc:sldMk cId="2919632462" sldId="572"/>
            <ac:grpSpMk id="10" creationId="{00000000-0000-0000-0000-000000000000}"/>
          </ac:grpSpMkLst>
        </pc:grpChg>
      </pc:sldChg>
      <pc:sldChg chg="addSp delSp modSp">
        <pc:chgData name="Andrew Sharp" userId="53f178df-da21-4936-8a93-86de9258956d" providerId="ADAL" clId="{0C248C7E-5B4F-4D11-9379-C3CCEE5B67A0}" dt="2018-11-05T21:04:21.488" v="39447" actId="478"/>
        <pc:sldMkLst>
          <pc:docMk/>
          <pc:sldMk cId="38987574" sldId="573"/>
        </pc:sldMkLst>
        <pc:spChg chg="mod">
          <ac:chgData name="Andrew Sharp" userId="53f178df-da21-4936-8a93-86de9258956d" providerId="ADAL" clId="{0C248C7E-5B4F-4D11-9379-C3CCEE5B67A0}" dt="2018-11-05T21:00:45.103" v="39409" actId="6549"/>
          <ac:spMkLst>
            <pc:docMk/>
            <pc:sldMk cId="38987574" sldId="573"/>
            <ac:spMk id="2" creationId="{00000000-0000-0000-0000-000000000000}"/>
          </ac:spMkLst>
        </pc:spChg>
        <pc:spChg chg="mod">
          <ac:chgData name="Andrew Sharp" userId="53f178df-da21-4936-8a93-86de9258956d" providerId="ADAL" clId="{0C248C7E-5B4F-4D11-9379-C3CCEE5B67A0}" dt="2018-11-05T20:13:24.731" v="39118" actId="20577"/>
          <ac:spMkLst>
            <pc:docMk/>
            <pc:sldMk cId="38987574" sldId="573"/>
            <ac:spMk id="3" creationId="{00000000-0000-0000-0000-000000000000}"/>
          </ac:spMkLst>
        </pc:spChg>
        <pc:spChg chg="del">
          <ac:chgData name="Andrew Sharp" userId="53f178df-da21-4936-8a93-86de9258956d" providerId="ADAL" clId="{0C248C7E-5B4F-4D11-9379-C3CCEE5B67A0}" dt="2018-11-02T21:21:02.137" v="26749"/>
          <ac:spMkLst>
            <pc:docMk/>
            <pc:sldMk cId="38987574" sldId="573"/>
            <ac:spMk id="4" creationId="{00000000-0000-0000-0000-000000000000}"/>
          </ac:spMkLst>
        </pc:spChg>
        <pc:spChg chg="add mod">
          <ac:chgData name="Andrew Sharp" userId="53f178df-da21-4936-8a93-86de9258956d" providerId="ADAL" clId="{0C248C7E-5B4F-4D11-9379-C3CCEE5B67A0}" dt="2018-11-05T20:12:34.215" v="39108" actId="20577"/>
          <ac:spMkLst>
            <pc:docMk/>
            <pc:sldMk cId="38987574" sldId="573"/>
            <ac:spMk id="4" creationId="{7FDCFE95-DFD8-4BD8-BD2B-829FD528C940}"/>
          </ac:spMkLst>
        </pc:spChg>
        <pc:spChg chg="mod">
          <ac:chgData name="Andrew Sharp" userId="53f178df-da21-4936-8a93-86de9258956d" providerId="ADAL" clId="{0C248C7E-5B4F-4D11-9379-C3CCEE5B67A0}" dt="2018-11-05T21:00:12.401" v="39358" actId="20577"/>
          <ac:spMkLst>
            <pc:docMk/>
            <pc:sldMk cId="38987574" sldId="573"/>
            <ac:spMk id="6" creationId="{00000000-0000-0000-0000-000000000000}"/>
          </ac:spMkLst>
        </pc:spChg>
        <pc:spChg chg="del mod">
          <ac:chgData name="Andrew Sharp" userId="53f178df-da21-4936-8a93-86de9258956d" providerId="ADAL" clId="{0C248C7E-5B4F-4D11-9379-C3CCEE5B67A0}" dt="2018-11-05T14:25:09.415" v="30653" actId="478"/>
          <ac:spMkLst>
            <pc:docMk/>
            <pc:sldMk cId="38987574" sldId="573"/>
            <ac:spMk id="7" creationId="{00000000-0000-0000-0000-000000000000}"/>
          </ac:spMkLst>
        </pc:spChg>
        <pc:spChg chg="add mod">
          <ac:chgData name="Andrew Sharp" userId="53f178df-da21-4936-8a93-86de9258956d" providerId="ADAL" clId="{0C248C7E-5B4F-4D11-9379-C3CCEE5B67A0}" dt="2018-11-05T21:00:21.577" v="39371" actId="20577"/>
          <ac:spMkLst>
            <pc:docMk/>
            <pc:sldMk cId="38987574" sldId="573"/>
            <ac:spMk id="8" creationId="{E76FCC4B-54C0-431F-85A6-CB71360422F2}"/>
          </ac:spMkLst>
        </pc:spChg>
        <pc:spChg chg="mod">
          <ac:chgData name="Andrew Sharp" userId="53f178df-da21-4936-8a93-86de9258956d" providerId="ADAL" clId="{0C248C7E-5B4F-4D11-9379-C3CCEE5B67A0}" dt="2018-11-05T15:19:29.588" v="34111" actId="20577"/>
          <ac:spMkLst>
            <pc:docMk/>
            <pc:sldMk cId="38987574" sldId="573"/>
            <ac:spMk id="11" creationId="{FA581E0D-525B-4101-A8C3-ECEBC5749D83}"/>
          </ac:spMkLst>
        </pc:spChg>
        <pc:spChg chg="add del mod">
          <ac:chgData name="Andrew Sharp" userId="53f178df-da21-4936-8a93-86de9258956d" providerId="ADAL" clId="{0C248C7E-5B4F-4D11-9379-C3CCEE5B67A0}" dt="2018-11-05T21:04:21.488" v="39447" actId="478"/>
          <ac:spMkLst>
            <pc:docMk/>
            <pc:sldMk cId="38987574" sldId="573"/>
            <ac:spMk id="14" creationId="{B1303D9D-2303-4C75-AF56-784FF25110D7}"/>
          </ac:spMkLst>
        </pc:spChg>
        <pc:spChg chg="add mod">
          <ac:chgData name="Andrew Sharp" userId="53f178df-da21-4936-8a93-86de9258956d" providerId="ADAL" clId="{0C248C7E-5B4F-4D11-9379-C3CCEE5B67A0}" dt="2018-11-05T15:05:49.371" v="32766" actId="1076"/>
          <ac:spMkLst>
            <pc:docMk/>
            <pc:sldMk cId="38987574" sldId="573"/>
            <ac:spMk id="15" creationId="{8841E6AD-334A-4761-9A48-14D40C1C83D3}"/>
          </ac:spMkLst>
        </pc:spChg>
        <pc:spChg chg="add mod">
          <ac:chgData name="Andrew Sharp" userId="53f178df-da21-4936-8a93-86de9258956d" providerId="ADAL" clId="{0C248C7E-5B4F-4D11-9379-C3CCEE5B67A0}" dt="2018-11-05T15:05:49.371" v="32766" actId="1076"/>
          <ac:spMkLst>
            <pc:docMk/>
            <pc:sldMk cId="38987574" sldId="573"/>
            <ac:spMk id="16" creationId="{7790AEAC-3CB1-47E8-94E9-249AFA1D35F2}"/>
          </ac:spMkLst>
        </pc:spChg>
        <pc:grpChg chg="add mod">
          <ac:chgData name="Andrew Sharp" userId="53f178df-da21-4936-8a93-86de9258956d" providerId="ADAL" clId="{0C248C7E-5B4F-4D11-9379-C3CCEE5B67A0}" dt="2018-11-05T14:58:58.921" v="32692" actId="1076"/>
          <ac:grpSpMkLst>
            <pc:docMk/>
            <pc:sldMk cId="38987574" sldId="573"/>
            <ac:grpSpMk id="10" creationId="{B2EA3AEF-F39D-4243-A686-4B003CD2A19A}"/>
          </ac:grpSpMkLst>
        </pc:grpChg>
        <pc:graphicFrameChg chg="mod modGraphic">
          <ac:chgData name="Andrew Sharp" userId="53f178df-da21-4936-8a93-86de9258956d" providerId="ADAL" clId="{0C248C7E-5B4F-4D11-9379-C3CCEE5B67A0}" dt="2018-11-05T15:17:48.886" v="34078" actId="404"/>
          <ac:graphicFrameMkLst>
            <pc:docMk/>
            <pc:sldMk cId="38987574" sldId="573"/>
            <ac:graphicFrameMk id="12" creationId="{00000000-0000-0000-0000-000000000000}"/>
          </ac:graphicFrameMkLst>
        </pc:graphicFrameChg>
        <pc:picChg chg="mod">
          <ac:chgData name="Andrew Sharp" userId="53f178df-da21-4936-8a93-86de9258956d" providerId="ADAL" clId="{0C248C7E-5B4F-4D11-9379-C3CCEE5B67A0}" dt="2018-11-05T14:59:11.540" v="32697" actId="14100"/>
          <ac:picMkLst>
            <pc:docMk/>
            <pc:sldMk cId="38987574" sldId="573"/>
            <ac:picMk id="13" creationId="{2A87D669-9DEB-4314-B754-ACFFA407487E}"/>
          </ac:picMkLst>
        </pc:picChg>
      </pc:sldChg>
      <pc:sldChg chg="addSp delSp modSp">
        <pc:chgData name="Andrew Sharp" userId="53f178df-da21-4936-8a93-86de9258956d" providerId="ADAL" clId="{0C248C7E-5B4F-4D11-9379-C3CCEE5B67A0}" dt="2018-11-12T18:06:41.377" v="42074" actId="20577"/>
        <pc:sldMkLst>
          <pc:docMk/>
          <pc:sldMk cId="548414482" sldId="582"/>
        </pc:sldMkLst>
        <pc:spChg chg="mod">
          <ac:chgData name="Andrew Sharp" userId="53f178df-da21-4936-8a93-86de9258956d" providerId="ADAL" clId="{0C248C7E-5B4F-4D11-9379-C3CCEE5B67A0}" dt="2018-10-24T18:43:46.010" v="12071" actId="20577"/>
          <ac:spMkLst>
            <pc:docMk/>
            <pc:sldMk cId="548414482" sldId="582"/>
            <ac:spMk id="3" creationId="{00000000-0000-0000-0000-000000000000}"/>
          </ac:spMkLst>
        </pc:spChg>
        <pc:spChg chg="mod">
          <ac:chgData name="Andrew Sharp" userId="53f178df-da21-4936-8a93-86de9258956d" providerId="ADAL" clId="{0C248C7E-5B4F-4D11-9379-C3CCEE5B67A0}" dt="2018-11-12T18:06:41.377" v="42074" actId="20577"/>
          <ac:spMkLst>
            <pc:docMk/>
            <pc:sldMk cId="548414482" sldId="582"/>
            <ac:spMk id="4" creationId="{00000000-0000-0000-0000-000000000000}"/>
          </ac:spMkLst>
        </pc:spChg>
        <pc:spChg chg="del">
          <ac:chgData name="Andrew Sharp" userId="53f178df-da21-4936-8a93-86de9258956d" providerId="ADAL" clId="{0C248C7E-5B4F-4D11-9379-C3CCEE5B67A0}" dt="2018-10-24T18:24:04.623" v="11657" actId="478"/>
          <ac:spMkLst>
            <pc:docMk/>
            <pc:sldMk cId="548414482" sldId="582"/>
            <ac:spMk id="5" creationId="{00000000-0000-0000-0000-000000000000}"/>
          </ac:spMkLst>
        </pc:spChg>
        <pc:spChg chg="mod">
          <ac:chgData name="Andrew Sharp" userId="53f178df-da21-4936-8a93-86de9258956d" providerId="ADAL" clId="{0C248C7E-5B4F-4D11-9379-C3CCEE5B67A0}" dt="2018-10-24T18:46:15.929" v="12462" actId="20577"/>
          <ac:spMkLst>
            <pc:docMk/>
            <pc:sldMk cId="548414482" sldId="582"/>
            <ac:spMk id="10" creationId="{FFDEC452-93D9-43DB-AF21-725FD771B5B9}"/>
          </ac:spMkLst>
        </pc:spChg>
        <pc:spChg chg="add del mod">
          <ac:chgData name="Andrew Sharp" userId="53f178df-da21-4936-8a93-86de9258956d" providerId="ADAL" clId="{0C248C7E-5B4F-4D11-9379-C3CCEE5B67A0}" dt="2018-10-24T18:46:32.007" v="12464" actId="478"/>
          <ac:spMkLst>
            <pc:docMk/>
            <pc:sldMk cId="548414482" sldId="582"/>
            <ac:spMk id="12" creationId="{0C84E318-3E16-485B-9EA6-FF959B2303E6}"/>
          </ac:spMkLst>
        </pc:spChg>
        <pc:spChg chg="mod">
          <ac:chgData name="Andrew Sharp" userId="53f178df-da21-4936-8a93-86de9258956d" providerId="ADAL" clId="{0C248C7E-5B4F-4D11-9379-C3CCEE5B67A0}" dt="2018-10-24T18:44:40.807" v="12199" actId="20577"/>
          <ac:spMkLst>
            <pc:docMk/>
            <pc:sldMk cId="548414482" sldId="582"/>
            <ac:spMk id="14" creationId="{2FCEE12B-577B-44DA-A0FE-7CA43588C472}"/>
          </ac:spMkLst>
        </pc:spChg>
        <pc:spChg chg="mod">
          <ac:chgData name="Andrew Sharp" userId="53f178df-da21-4936-8a93-86de9258956d" providerId="ADAL" clId="{0C248C7E-5B4F-4D11-9379-C3CCEE5B67A0}" dt="2018-10-24T19:30:36.805" v="13160" actId="20577"/>
          <ac:spMkLst>
            <pc:docMk/>
            <pc:sldMk cId="548414482" sldId="582"/>
            <ac:spMk id="24" creationId="{D84CC06B-5261-4991-9880-904ACE8E9F90}"/>
          </ac:spMkLst>
        </pc:spChg>
        <pc:spChg chg="mod">
          <ac:chgData name="Andrew Sharp" userId="53f178df-da21-4936-8a93-86de9258956d" providerId="ADAL" clId="{0C248C7E-5B4F-4D11-9379-C3CCEE5B67A0}" dt="2018-10-24T19:30:15.961" v="13149" actId="1076"/>
          <ac:spMkLst>
            <pc:docMk/>
            <pc:sldMk cId="548414482" sldId="582"/>
            <ac:spMk id="30" creationId="{DE18D117-DE13-4215-8207-3D55DC126229}"/>
          </ac:spMkLst>
        </pc:spChg>
        <pc:grpChg chg="add mod">
          <ac:chgData name="Andrew Sharp" userId="53f178df-da21-4936-8a93-86de9258956d" providerId="ADAL" clId="{0C248C7E-5B4F-4D11-9379-C3CCEE5B67A0}" dt="2018-10-24T18:51:20.693" v="12490" actId="1076"/>
          <ac:grpSpMkLst>
            <pc:docMk/>
            <pc:sldMk cId="548414482" sldId="582"/>
            <ac:grpSpMk id="9" creationId="{683CD103-CAB0-4189-A3CE-CF237B47B98B}"/>
          </ac:grpSpMkLst>
        </pc:grpChg>
        <pc:grpChg chg="add mod">
          <ac:chgData name="Andrew Sharp" userId="53f178df-da21-4936-8a93-86de9258956d" providerId="ADAL" clId="{0C248C7E-5B4F-4D11-9379-C3CCEE5B67A0}" dt="2018-10-24T18:43:07.682" v="11976" actId="1076"/>
          <ac:grpSpMkLst>
            <pc:docMk/>
            <pc:sldMk cId="548414482" sldId="582"/>
            <ac:grpSpMk id="13" creationId="{9C6703D2-8D30-49DE-B713-41CCEFB1C45F}"/>
          </ac:grpSpMkLst>
        </pc:grpChg>
        <pc:grpChg chg="add mod">
          <ac:chgData name="Andrew Sharp" userId="53f178df-da21-4936-8a93-86de9258956d" providerId="ADAL" clId="{0C248C7E-5B4F-4D11-9379-C3CCEE5B67A0}" dt="2018-10-24T19:28:09.180" v="12710" actId="1076"/>
          <ac:grpSpMkLst>
            <pc:docMk/>
            <pc:sldMk cId="548414482" sldId="582"/>
            <ac:grpSpMk id="23" creationId="{26A92E07-B521-4AAF-935F-08DF76AB9CD4}"/>
          </ac:grpSpMkLst>
        </pc:grpChg>
        <pc:grpChg chg="add mod">
          <ac:chgData name="Andrew Sharp" userId="53f178df-da21-4936-8a93-86de9258956d" providerId="ADAL" clId="{0C248C7E-5B4F-4D11-9379-C3CCEE5B67A0}" dt="2018-10-24T19:29:28.915" v="12974" actId="1076"/>
          <ac:grpSpMkLst>
            <pc:docMk/>
            <pc:sldMk cId="548414482" sldId="582"/>
            <ac:grpSpMk id="29" creationId="{C8351C96-5719-4249-8DB3-9565D7CAE85F}"/>
          </ac:grpSpMkLst>
        </pc:grpChg>
        <pc:picChg chg="add del mod">
          <ac:chgData name="Andrew Sharp" userId="53f178df-da21-4936-8a93-86de9258956d" providerId="ADAL" clId="{0C248C7E-5B4F-4D11-9379-C3CCEE5B67A0}" dt="2018-10-24T18:24:35.193" v="11662" actId="478"/>
          <ac:picMkLst>
            <pc:docMk/>
            <pc:sldMk cId="548414482" sldId="582"/>
            <ac:picMk id="7" creationId="{B0D55342-5327-4B13-A3C4-C5A5394AE9A9}"/>
          </ac:picMkLst>
        </pc:picChg>
        <pc:picChg chg="add del mod">
          <ac:chgData name="Andrew Sharp" userId="53f178df-da21-4936-8a93-86de9258956d" providerId="ADAL" clId="{0C248C7E-5B4F-4D11-9379-C3CCEE5B67A0}" dt="2018-10-24T18:50:05.928" v="12475" actId="478"/>
          <ac:picMkLst>
            <pc:docMk/>
            <pc:sldMk cId="548414482" sldId="582"/>
            <ac:picMk id="8" creationId="{F21C86DE-CEBD-42BB-88F6-6840E3638B02}"/>
          </ac:picMkLst>
        </pc:picChg>
        <pc:picChg chg="add del">
          <ac:chgData name="Andrew Sharp" userId="53f178df-da21-4936-8a93-86de9258956d" providerId="ADAL" clId="{0C248C7E-5B4F-4D11-9379-C3CCEE5B67A0}" dt="2018-10-24T18:35:12.110" v="11971" actId="478"/>
          <ac:picMkLst>
            <pc:docMk/>
            <pc:sldMk cId="548414482" sldId="582"/>
            <ac:picMk id="18" creationId="{28D32877-7886-45D9-83F5-503BAE766237}"/>
          </ac:picMkLst>
        </pc:picChg>
        <pc:picChg chg="add del">
          <ac:chgData name="Andrew Sharp" userId="53f178df-da21-4936-8a93-86de9258956d" providerId="ADAL" clId="{0C248C7E-5B4F-4D11-9379-C3CCEE5B67A0}" dt="2018-10-24T18:46:35.694" v="12466"/>
          <ac:picMkLst>
            <pc:docMk/>
            <pc:sldMk cId="548414482" sldId="582"/>
            <ac:picMk id="22" creationId="{EA557A21-6A68-44B6-816C-3D05B3F63503}"/>
          </ac:picMkLst>
        </pc:picChg>
        <pc:picChg chg="add mod ord modCrop">
          <ac:chgData name="Andrew Sharp" userId="53f178df-da21-4936-8a93-86de9258956d" providerId="ADAL" clId="{0C248C7E-5B4F-4D11-9379-C3CCEE5B67A0}" dt="2018-10-24T18:51:12.205" v="12489" actId="1076"/>
          <ac:picMkLst>
            <pc:docMk/>
            <pc:sldMk cId="548414482" sldId="582"/>
            <ac:picMk id="28" creationId="{4C3CCC3F-503F-4460-9580-7A604EC62FCF}"/>
          </ac:picMkLst>
        </pc:picChg>
        <pc:cxnChg chg="mod">
          <ac:chgData name="Andrew Sharp" userId="53f178df-da21-4936-8a93-86de9258956d" providerId="ADAL" clId="{0C248C7E-5B4F-4D11-9379-C3CCEE5B67A0}" dt="2018-10-24T18:46:11.164" v="12428" actId="20577"/>
          <ac:cxnSpMkLst>
            <pc:docMk/>
            <pc:sldMk cId="548414482" sldId="582"/>
            <ac:cxnSpMk id="11" creationId="{FCC40E10-6D1A-4AF1-8695-D92924B2AF32}"/>
          </ac:cxnSpMkLst>
        </pc:cxnChg>
        <pc:cxnChg chg="mod">
          <ac:chgData name="Andrew Sharp" userId="53f178df-da21-4936-8a93-86de9258956d" providerId="ADAL" clId="{0C248C7E-5B4F-4D11-9379-C3CCEE5B67A0}" dt="2018-10-24T18:44:33.026" v="12168" actId="20577"/>
          <ac:cxnSpMkLst>
            <pc:docMk/>
            <pc:sldMk cId="548414482" sldId="582"/>
            <ac:cxnSpMk id="15" creationId="{88FB5CA0-2027-4FEA-8756-ED35BAF20977}"/>
          </ac:cxnSpMkLst>
        </pc:cxnChg>
        <pc:cxnChg chg="mod">
          <ac:chgData name="Andrew Sharp" userId="53f178df-da21-4936-8a93-86de9258956d" providerId="ADAL" clId="{0C248C7E-5B4F-4D11-9379-C3CCEE5B67A0}" dt="2018-10-24T19:29:06.774" v="12915" actId="20577"/>
          <ac:cxnSpMkLst>
            <pc:docMk/>
            <pc:sldMk cId="548414482" sldId="582"/>
            <ac:cxnSpMk id="25" creationId="{9FF821CB-FE2A-4CEC-B827-7B5F5DC5A2D9}"/>
          </ac:cxnSpMkLst>
        </pc:cxnChg>
        <pc:cxnChg chg="mod">
          <ac:chgData name="Andrew Sharp" userId="53f178df-da21-4936-8a93-86de9258956d" providerId="ADAL" clId="{0C248C7E-5B4F-4D11-9379-C3CCEE5B67A0}" dt="2018-10-24T19:30:19.197" v="13150" actId="14100"/>
          <ac:cxnSpMkLst>
            <pc:docMk/>
            <pc:sldMk cId="548414482" sldId="582"/>
            <ac:cxnSpMk id="31" creationId="{2C4245DA-89E0-4F8F-9B60-25A6AF95EF34}"/>
          </ac:cxnSpMkLst>
        </pc:cxnChg>
      </pc:sldChg>
      <pc:sldChg chg="modSp ord">
        <pc:chgData name="Andrew Sharp" userId="53f178df-da21-4936-8a93-86de9258956d" providerId="ADAL" clId="{0C248C7E-5B4F-4D11-9379-C3CCEE5B67A0}" dt="2018-11-08T18:46:25.483" v="41590" actId="20577"/>
        <pc:sldMkLst>
          <pc:docMk/>
          <pc:sldMk cId="3581560025" sldId="583"/>
        </pc:sldMkLst>
        <pc:spChg chg="mod">
          <ac:chgData name="Andrew Sharp" userId="53f178df-da21-4936-8a93-86de9258956d" providerId="ADAL" clId="{0C248C7E-5B4F-4D11-9379-C3CCEE5B67A0}" dt="2018-11-08T18:46:25.483" v="41590" actId="20577"/>
          <ac:spMkLst>
            <pc:docMk/>
            <pc:sldMk cId="3581560025" sldId="583"/>
            <ac:spMk id="2" creationId="{00000000-0000-0000-0000-000000000000}"/>
          </ac:spMkLst>
        </pc:spChg>
      </pc:sldChg>
      <pc:sldChg chg="modSp">
        <pc:chgData name="Andrew Sharp" userId="53f178df-da21-4936-8a93-86de9258956d" providerId="ADAL" clId="{0C248C7E-5B4F-4D11-9379-C3CCEE5B67A0}" dt="2018-11-12T18:07:29.287" v="42092" actId="20577"/>
        <pc:sldMkLst>
          <pc:docMk/>
          <pc:sldMk cId="1905498311" sldId="584"/>
        </pc:sldMkLst>
        <pc:spChg chg="mod">
          <ac:chgData name="Andrew Sharp" userId="53f178df-da21-4936-8a93-86de9258956d" providerId="ADAL" clId="{0C248C7E-5B4F-4D11-9379-C3CCEE5B67A0}" dt="2018-11-12T18:07:29.287" v="42092" actId="20577"/>
          <ac:spMkLst>
            <pc:docMk/>
            <pc:sldMk cId="1905498311" sldId="584"/>
            <ac:spMk id="3" creationId="{00000000-0000-0000-0000-000000000000}"/>
          </ac:spMkLst>
        </pc:spChg>
        <pc:spChg chg="mod">
          <ac:chgData name="Andrew Sharp" userId="53f178df-da21-4936-8a93-86de9258956d" providerId="ADAL" clId="{0C248C7E-5B4F-4D11-9379-C3CCEE5B67A0}" dt="2018-11-08T18:58:45.420" v="41929" actId="20577"/>
          <ac:spMkLst>
            <pc:docMk/>
            <pc:sldMk cId="1905498311" sldId="584"/>
            <ac:spMk id="4" creationId="{00000000-0000-0000-0000-000000000000}"/>
          </ac:spMkLst>
        </pc:spChg>
        <pc:spChg chg="mod">
          <ac:chgData name="Andrew Sharp" userId="53f178df-da21-4936-8a93-86de9258956d" providerId="ADAL" clId="{0C248C7E-5B4F-4D11-9379-C3CCEE5B67A0}" dt="2018-11-08T18:57:21.699" v="41840" actId="20577"/>
          <ac:spMkLst>
            <pc:docMk/>
            <pc:sldMk cId="1905498311" sldId="584"/>
            <ac:spMk id="15" creationId="{00000000-0000-0000-0000-000000000000}"/>
          </ac:spMkLst>
        </pc:spChg>
      </pc:sldChg>
      <pc:sldChg chg="addSp delSp modSp">
        <pc:chgData name="Andrew Sharp" userId="53f178df-da21-4936-8a93-86de9258956d" providerId="ADAL" clId="{0C248C7E-5B4F-4D11-9379-C3CCEE5B67A0}" dt="2018-11-12T18:07:34.437" v="42094" actId="20577"/>
        <pc:sldMkLst>
          <pc:docMk/>
          <pc:sldMk cId="3240435005" sldId="585"/>
        </pc:sldMkLst>
        <pc:spChg chg="mod">
          <ac:chgData name="Andrew Sharp" userId="53f178df-da21-4936-8a93-86de9258956d" providerId="ADAL" clId="{0C248C7E-5B4F-4D11-9379-C3CCEE5B67A0}" dt="2018-10-26T14:09:16.917" v="21633" actId="20577"/>
          <ac:spMkLst>
            <pc:docMk/>
            <pc:sldMk cId="3240435005" sldId="585"/>
            <ac:spMk id="3" creationId="{00000000-0000-0000-0000-000000000000}"/>
          </ac:spMkLst>
        </pc:spChg>
        <pc:spChg chg="mod">
          <ac:chgData name="Andrew Sharp" userId="53f178df-da21-4936-8a93-86de9258956d" providerId="ADAL" clId="{0C248C7E-5B4F-4D11-9379-C3CCEE5B67A0}" dt="2018-11-12T18:07:34.437" v="42094" actId="20577"/>
          <ac:spMkLst>
            <pc:docMk/>
            <pc:sldMk cId="3240435005" sldId="585"/>
            <ac:spMk id="4" creationId="{00000000-0000-0000-0000-000000000000}"/>
          </ac:spMkLst>
        </pc:spChg>
        <pc:spChg chg="add mod">
          <ac:chgData name="Andrew Sharp" userId="53f178df-da21-4936-8a93-86de9258956d" providerId="ADAL" clId="{0C248C7E-5B4F-4D11-9379-C3CCEE5B67A0}" dt="2018-10-26T14:10:56.175" v="21922" actId="20577"/>
          <ac:spMkLst>
            <pc:docMk/>
            <pc:sldMk cId="3240435005" sldId="585"/>
            <ac:spMk id="10" creationId="{D33986CE-15E6-4E6E-92D9-83D91A1E2599}"/>
          </ac:spMkLst>
        </pc:spChg>
        <pc:grpChg chg="add del mod">
          <ac:chgData name="Andrew Sharp" userId="53f178df-da21-4936-8a93-86de9258956d" providerId="ADAL" clId="{0C248C7E-5B4F-4D11-9379-C3CCEE5B67A0}" dt="2018-10-26T13:59:35.930" v="21189" actId="165"/>
          <ac:grpSpMkLst>
            <pc:docMk/>
            <pc:sldMk cId="3240435005" sldId="585"/>
            <ac:grpSpMk id="9" creationId="{A3363F57-C957-4ECF-9FCD-C30AEEAE0205}"/>
          </ac:grpSpMkLst>
        </pc:grpChg>
        <pc:picChg chg="add mod topLvl">
          <ac:chgData name="Andrew Sharp" userId="53f178df-da21-4936-8a93-86de9258956d" providerId="ADAL" clId="{0C248C7E-5B4F-4D11-9379-C3CCEE5B67A0}" dt="2018-10-26T14:08:41.450" v="21526" actId="14100"/>
          <ac:picMkLst>
            <pc:docMk/>
            <pc:sldMk cId="3240435005" sldId="585"/>
            <ac:picMk id="6" creationId="{EBEAED70-9441-407D-AB43-7B23D2B6A10B}"/>
          </ac:picMkLst>
        </pc:picChg>
        <pc:picChg chg="add mod topLvl">
          <ac:chgData name="Andrew Sharp" userId="53f178df-da21-4936-8a93-86de9258956d" providerId="ADAL" clId="{0C248C7E-5B4F-4D11-9379-C3CCEE5B67A0}" dt="2018-10-26T13:59:47.700" v="21191" actId="465"/>
          <ac:picMkLst>
            <pc:docMk/>
            <pc:sldMk cId="3240435005" sldId="585"/>
            <ac:picMk id="7" creationId="{03EED48E-8F90-4B64-907F-FDF893982528}"/>
          </ac:picMkLst>
        </pc:picChg>
        <pc:picChg chg="add mod topLvl">
          <ac:chgData name="Andrew Sharp" userId="53f178df-da21-4936-8a93-86de9258956d" providerId="ADAL" clId="{0C248C7E-5B4F-4D11-9379-C3CCEE5B67A0}" dt="2018-10-26T14:08:25.380" v="21524" actId="14100"/>
          <ac:picMkLst>
            <pc:docMk/>
            <pc:sldMk cId="3240435005" sldId="585"/>
            <ac:picMk id="8" creationId="{E1610068-BCDE-4731-8EAA-416042E404AD}"/>
          </ac:picMkLst>
        </pc:picChg>
      </pc:sldChg>
      <pc:sldChg chg="ord">
        <pc:chgData name="Andrew Sharp" userId="53f178df-da21-4936-8a93-86de9258956d" providerId="ADAL" clId="{0C248C7E-5B4F-4D11-9379-C3CCEE5B67A0}" dt="2018-11-08T17:36:21.976" v="39901"/>
        <pc:sldMkLst>
          <pc:docMk/>
          <pc:sldMk cId="3039624986" sldId="586"/>
        </pc:sldMkLst>
      </pc:sldChg>
      <pc:sldChg chg="addSp delSp modSp">
        <pc:chgData name="Andrew Sharp" userId="53f178df-da21-4936-8a93-86de9258956d" providerId="ADAL" clId="{0C248C7E-5B4F-4D11-9379-C3CCEE5B67A0}" dt="2018-11-05T20:19:44.809" v="39143" actId="1076"/>
        <pc:sldMkLst>
          <pc:docMk/>
          <pc:sldMk cId="3716762882" sldId="587"/>
        </pc:sldMkLst>
        <pc:spChg chg="add del mod">
          <ac:chgData name="Andrew Sharp" userId="53f178df-da21-4936-8a93-86de9258956d" providerId="ADAL" clId="{0C248C7E-5B4F-4D11-9379-C3CCEE5B67A0}" dt="2018-11-05T20:13:56.323" v="39128" actId="478"/>
          <ac:spMkLst>
            <pc:docMk/>
            <pc:sldMk cId="3716762882" sldId="587"/>
            <ac:spMk id="16" creationId="{F79A0DE9-AA02-4E77-BCEC-BD204FF1CB95}"/>
          </ac:spMkLst>
        </pc:spChg>
        <pc:spChg chg="add mod">
          <ac:chgData name="Andrew Sharp" userId="53f178df-da21-4936-8a93-86de9258956d" providerId="ADAL" clId="{0C248C7E-5B4F-4D11-9379-C3CCEE5B67A0}" dt="2018-11-05T20:14:09.539" v="39129" actId="408"/>
          <ac:spMkLst>
            <pc:docMk/>
            <pc:sldMk cId="3716762882" sldId="587"/>
            <ac:spMk id="17" creationId="{6664ADC0-D130-423B-8A90-D4243AA83C50}"/>
          </ac:spMkLst>
        </pc:spChg>
        <pc:spChg chg="mod">
          <ac:chgData name="Andrew Sharp" userId="53f178df-da21-4936-8a93-86de9258956d" providerId="ADAL" clId="{0C248C7E-5B4F-4D11-9379-C3CCEE5B67A0}" dt="2018-11-05T20:14:09.539" v="39129" actId="408"/>
          <ac:spMkLst>
            <pc:docMk/>
            <pc:sldMk cId="3716762882" sldId="587"/>
            <ac:spMk id="18" creationId="{00000000-0000-0000-0000-000000000000}"/>
          </ac:spMkLst>
        </pc:spChg>
        <pc:spChg chg="mod">
          <ac:chgData name="Andrew Sharp" userId="53f178df-da21-4936-8a93-86de9258956d" providerId="ADAL" clId="{0C248C7E-5B4F-4D11-9379-C3CCEE5B67A0}" dt="2018-11-05T20:14:09.539" v="39129" actId="408"/>
          <ac:spMkLst>
            <pc:docMk/>
            <pc:sldMk cId="3716762882" sldId="587"/>
            <ac:spMk id="19" creationId="{00000000-0000-0000-0000-000000000000}"/>
          </ac:spMkLst>
        </pc:spChg>
        <pc:grpChg chg="add mod">
          <ac:chgData name="Andrew Sharp" userId="53f178df-da21-4936-8a93-86de9258956d" providerId="ADAL" clId="{0C248C7E-5B4F-4D11-9379-C3CCEE5B67A0}" dt="2018-11-05T20:19:26.249" v="39137" actId="1076"/>
          <ac:grpSpMkLst>
            <pc:docMk/>
            <pc:sldMk cId="3716762882" sldId="587"/>
            <ac:grpSpMk id="3" creationId="{2F0A4603-E8D1-4378-83D2-181FDDE020BA}"/>
          </ac:grpSpMkLst>
        </pc:grpChg>
        <pc:graphicFrameChg chg="add del">
          <ac:chgData name="Andrew Sharp" userId="53f178df-da21-4936-8a93-86de9258956d" providerId="ADAL" clId="{0C248C7E-5B4F-4D11-9379-C3CCEE5B67A0}" dt="2018-11-05T20:13:47.919" v="39124"/>
          <ac:graphicFrameMkLst>
            <pc:docMk/>
            <pc:sldMk cId="3716762882" sldId="587"/>
            <ac:graphicFrameMk id="21" creationId="{58BDD5D0-C0A7-4719-B39E-91CFE515F87F}"/>
          </ac:graphicFrameMkLst>
        </pc:graphicFrameChg>
        <pc:picChg chg="add mod">
          <ac:chgData name="Andrew Sharp" userId="53f178df-da21-4936-8a93-86de9258956d" providerId="ADAL" clId="{0C248C7E-5B4F-4D11-9379-C3CCEE5B67A0}" dt="2018-11-05T20:19:39.202" v="39141" actId="1076"/>
          <ac:picMkLst>
            <pc:docMk/>
            <pc:sldMk cId="3716762882" sldId="587"/>
            <ac:picMk id="4" creationId="{2C88CBE0-5E52-425C-973E-C15A454BACDA}"/>
          </ac:picMkLst>
        </pc:picChg>
        <pc:picChg chg="add mod ord">
          <ac:chgData name="Andrew Sharp" userId="53f178df-da21-4936-8a93-86de9258956d" providerId="ADAL" clId="{0C248C7E-5B4F-4D11-9379-C3CCEE5B67A0}" dt="2018-11-05T20:19:42.567" v="39142" actId="1076"/>
          <ac:picMkLst>
            <pc:docMk/>
            <pc:sldMk cId="3716762882" sldId="587"/>
            <ac:picMk id="12" creationId="{3CC15C7D-B952-4E03-AA43-28EA0356B8AD}"/>
          </ac:picMkLst>
        </pc:picChg>
        <pc:picChg chg="add mod">
          <ac:chgData name="Andrew Sharp" userId="53f178df-da21-4936-8a93-86de9258956d" providerId="ADAL" clId="{0C248C7E-5B4F-4D11-9379-C3CCEE5B67A0}" dt="2018-11-03T16:41:44.042" v="29767" actId="164"/>
          <ac:picMkLst>
            <pc:docMk/>
            <pc:sldMk cId="3716762882" sldId="587"/>
            <ac:picMk id="13" creationId="{2BEC2814-3BC2-41DD-B41E-914569EE2C85}"/>
          </ac:picMkLst>
        </pc:picChg>
        <pc:picChg chg="add mod">
          <ac:chgData name="Andrew Sharp" userId="53f178df-da21-4936-8a93-86de9258956d" providerId="ADAL" clId="{0C248C7E-5B4F-4D11-9379-C3CCEE5B67A0}" dt="2018-11-05T20:19:44.809" v="39143" actId="1076"/>
          <ac:picMkLst>
            <pc:docMk/>
            <pc:sldMk cId="3716762882" sldId="587"/>
            <ac:picMk id="14" creationId="{3D838511-2489-4A4B-A83B-E0F974109CC7}"/>
          </ac:picMkLst>
        </pc:picChg>
        <pc:picChg chg="add mod">
          <ac:chgData name="Andrew Sharp" userId="53f178df-da21-4936-8a93-86de9258956d" providerId="ADAL" clId="{0C248C7E-5B4F-4D11-9379-C3CCEE5B67A0}" dt="2018-11-05T20:19:36.132" v="39140" actId="14100"/>
          <ac:picMkLst>
            <pc:docMk/>
            <pc:sldMk cId="3716762882" sldId="587"/>
            <ac:picMk id="20" creationId="{1682B0BA-FEF1-4022-843B-052B44E973DC}"/>
          </ac:picMkLst>
        </pc:picChg>
      </pc:sldChg>
      <pc:sldChg chg="modSp addCm delCm">
        <pc:chgData name="Andrew Sharp" userId="53f178df-da21-4936-8a93-86de9258956d" providerId="ADAL" clId="{0C248C7E-5B4F-4D11-9379-C3CCEE5B67A0}" dt="2018-11-12T18:06:59.410" v="42080" actId="5793"/>
        <pc:sldMkLst>
          <pc:docMk/>
          <pc:sldMk cId="3378251041" sldId="588"/>
        </pc:sldMkLst>
        <pc:spChg chg="mod">
          <ac:chgData name="Andrew Sharp" userId="53f178df-da21-4936-8a93-86de9258956d" providerId="ADAL" clId="{0C248C7E-5B4F-4D11-9379-C3CCEE5B67A0}" dt="2018-10-26T15:08:53.781" v="23269" actId="6549"/>
          <ac:spMkLst>
            <pc:docMk/>
            <pc:sldMk cId="3378251041" sldId="588"/>
            <ac:spMk id="2" creationId="{00000000-0000-0000-0000-000000000000}"/>
          </ac:spMkLst>
        </pc:spChg>
        <pc:spChg chg="mod">
          <ac:chgData name="Andrew Sharp" userId="53f178df-da21-4936-8a93-86de9258956d" providerId="ADAL" clId="{0C248C7E-5B4F-4D11-9379-C3CCEE5B67A0}" dt="2018-11-12T18:06:59.410" v="42080" actId="5793"/>
          <ac:spMkLst>
            <pc:docMk/>
            <pc:sldMk cId="3378251041" sldId="588"/>
            <ac:spMk id="3" creationId="{00000000-0000-0000-0000-000000000000}"/>
          </ac:spMkLst>
        </pc:spChg>
        <pc:spChg chg="mod">
          <ac:chgData name="Andrew Sharp" userId="53f178df-da21-4936-8a93-86de9258956d" providerId="ADAL" clId="{0C248C7E-5B4F-4D11-9379-C3CCEE5B67A0}" dt="2018-10-26T15:09:30.721" v="23350" actId="20577"/>
          <ac:spMkLst>
            <pc:docMk/>
            <pc:sldMk cId="3378251041" sldId="588"/>
            <ac:spMk id="4" creationId="{00000000-0000-0000-0000-000000000000}"/>
          </ac:spMkLst>
        </pc:spChg>
        <pc:spChg chg="mod">
          <ac:chgData name="Andrew Sharp" userId="53f178df-da21-4936-8a93-86de9258956d" providerId="ADAL" clId="{0C248C7E-5B4F-4D11-9379-C3CCEE5B67A0}" dt="2018-10-26T15:10:10.816" v="23438" actId="20577"/>
          <ac:spMkLst>
            <pc:docMk/>
            <pc:sldMk cId="3378251041" sldId="588"/>
            <ac:spMk id="6" creationId="{00000000-0000-0000-0000-000000000000}"/>
          </ac:spMkLst>
        </pc:spChg>
        <pc:graphicFrameChg chg="mod">
          <ac:chgData name="Andrew Sharp" userId="53f178df-da21-4936-8a93-86de9258956d" providerId="ADAL" clId="{0C248C7E-5B4F-4D11-9379-C3CCEE5B67A0}" dt="2018-10-26T15:09:10.536" v="23299" actId="1076"/>
          <ac:graphicFrameMkLst>
            <pc:docMk/>
            <pc:sldMk cId="3378251041" sldId="588"/>
            <ac:graphicFrameMk id="5" creationId="{00000000-0000-0000-0000-000000000000}"/>
          </ac:graphicFrameMkLst>
        </pc:graphicFrameChg>
      </pc:sldChg>
      <pc:sldChg chg="addSp modSp">
        <pc:chgData name="Andrew Sharp" userId="53f178df-da21-4936-8a93-86de9258956d" providerId="ADAL" clId="{0C248C7E-5B4F-4D11-9379-C3CCEE5B67A0}" dt="2018-11-03T16:45:50.483" v="29937" actId="20577"/>
        <pc:sldMkLst>
          <pc:docMk/>
          <pc:sldMk cId="2034158131" sldId="589"/>
        </pc:sldMkLst>
        <pc:spChg chg="mod">
          <ac:chgData name="Andrew Sharp" userId="53f178df-da21-4936-8a93-86de9258956d" providerId="ADAL" clId="{0C248C7E-5B4F-4D11-9379-C3CCEE5B67A0}" dt="2018-11-03T16:45:50.483" v="29937" actId="20577"/>
          <ac:spMkLst>
            <pc:docMk/>
            <pc:sldMk cId="2034158131" sldId="589"/>
            <ac:spMk id="4" creationId="{00000000-0000-0000-0000-000000000000}"/>
          </ac:spMkLst>
        </pc:spChg>
        <pc:grpChg chg="add mod">
          <ac:chgData name="Andrew Sharp" userId="53f178df-da21-4936-8a93-86de9258956d" providerId="ADAL" clId="{0C248C7E-5B4F-4D11-9379-C3CCEE5B67A0}" dt="2018-11-03T16:45:23.599" v="29905" actId="1076"/>
          <ac:grpSpMkLst>
            <pc:docMk/>
            <pc:sldMk cId="2034158131" sldId="589"/>
            <ac:grpSpMk id="6" creationId="{C88BA655-0913-4163-B6A2-3ADE4B7818E4}"/>
          </ac:grpSpMkLst>
        </pc:grpChg>
        <pc:graphicFrameChg chg="mod modGraphic">
          <ac:chgData name="Andrew Sharp" userId="53f178df-da21-4936-8a93-86de9258956d" providerId="ADAL" clId="{0C248C7E-5B4F-4D11-9379-C3CCEE5B67A0}" dt="2018-11-03T16:45:19.116" v="29904" actId="1076"/>
          <ac:graphicFrameMkLst>
            <pc:docMk/>
            <pc:sldMk cId="2034158131" sldId="589"/>
            <ac:graphicFrameMk id="5" creationId="{00000000-0000-0000-0000-000000000000}"/>
          </ac:graphicFrameMkLst>
        </pc:graphicFrameChg>
      </pc:sldChg>
      <pc:sldChg chg="addSp modSp">
        <pc:chgData name="Andrew Sharp" userId="53f178df-da21-4936-8a93-86de9258956d" providerId="ADAL" clId="{0C248C7E-5B4F-4D11-9379-C3CCEE5B67A0}" dt="2018-11-03T16:46:08.786" v="29939" actId="113"/>
        <pc:sldMkLst>
          <pc:docMk/>
          <pc:sldMk cId="2161827961" sldId="590"/>
        </pc:sldMkLst>
        <pc:spChg chg="mod">
          <ac:chgData name="Andrew Sharp" userId="53f178df-da21-4936-8a93-86de9258956d" providerId="ADAL" clId="{0C248C7E-5B4F-4D11-9379-C3CCEE5B67A0}" dt="2018-11-03T16:46:08.786" v="29939" actId="113"/>
          <ac:spMkLst>
            <pc:docMk/>
            <pc:sldMk cId="2161827961" sldId="590"/>
            <ac:spMk id="7" creationId="{A9F7EA21-44DD-4156-B851-1AFD1E702CED}"/>
          </ac:spMkLst>
        </pc:spChg>
        <pc:grpChg chg="add mod">
          <ac:chgData name="Andrew Sharp" userId="53f178df-da21-4936-8a93-86de9258956d" providerId="ADAL" clId="{0C248C7E-5B4F-4D11-9379-C3CCEE5B67A0}" dt="2018-10-02T17:09:33.240" v="866" actId="1035"/>
          <ac:grpSpMkLst>
            <pc:docMk/>
            <pc:sldMk cId="2161827961" sldId="590"/>
            <ac:grpSpMk id="6" creationId="{BB50E241-BC50-4390-88C2-E85A295B6CFB}"/>
          </ac:grpSpMkLst>
        </pc:grpChg>
        <pc:graphicFrameChg chg="mod modGraphic">
          <ac:chgData name="Andrew Sharp" userId="53f178df-da21-4936-8a93-86de9258956d" providerId="ADAL" clId="{0C248C7E-5B4F-4D11-9379-C3CCEE5B67A0}" dt="2018-11-02T21:19:27.093" v="26737" actId="14100"/>
          <ac:graphicFrameMkLst>
            <pc:docMk/>
            <pc:sldMk cId="2161827961" sldId="590"/>
            <ac:graphicFrameMk id="5" creationId="{00000000-0000-0000-0000-000000000000}"/>
          </ac:graphicFrameMkLst>
        </pc:graphicFrameChg>
        <pc:picChg chg="mod">
          <ac:chgData name="Andrew Sharp" userId="53f178df-da21-4936-8a93-86de9258956d" providerId="ADAL" clId="{0C248C7E-5B4F-4D11-9379-C3CCEE5B67A0}" dt="2018-10-02T15:22:49.951" v="271" actId="14100"/>
          <ac:picMkLst>
            <pc:docMk/>
            <pc:sldMk cId="2161827961" sldId="590"/>
            <ac:picMk id="8" creationId="{25A735C6-26DD-4C2D-B572-19A2422EC710}"/>
          </ac:picMkLst>
        </pc:picChg>
      </pc:sldChg>
      <pc:sldChg chg="addSp modSp">
        <pc:chgData name="Andrew Sharp" userId="53f178df-da21-4936-8a93-86de9258956d" providerId="ADAL" clId="{0C248C7E-5B4F-4D11-9379-C3CCEE5B67A0}" dt="2018-11-05T21:03:39.405" v="39435" actId="14100"/>
        <pc:sldMkLst>
          <pc:docMk/>
          <pc:sldMk cId="3558682306" sldId="595"/>
        </pc:sldMkLst>
        <pc:spChg chg="mod">
          <ac:chgData name="Andrew Sharp" userId="53f178df-da21-4936-8a93-86de9258956d" providerId="ADAL" clId="{0C248C7E-5B4F-4D11-9379-C3CCEE5B67A0}" dt="2018-11-05T21:03:39.405" v="39435" actId="14100"/>
          <ac:spMkLst>
            <pc:docMk/>
            <pc:sldMk cId="3558682306" sldId="595"/>
            <ac:spMk id="7" creationId="{83A5A15F-DDF3-45AC-8207-0E588D88E746}"/>
          </ac:spMkLst>
        </pc:spChg>
        <pc:spChg chg="mod">
          <ac:chgData name="Andrew Sharp" userId="53f178df-da21-4936-8a93-86de9258956d" providerId="ADAL" clId="{0C248C7E-5B4F-4D11-9379-C3CCEE5B67A0}" dt="2018-10-02T17:10:16.082" v="901" actId="1076"/>
          <ac:spMkLst>
            <pc:docMk/>
            <pc:sldMk cId="3558682306" sldId="595"/>
            <ac:spMk id="9" creationId="{00000000-0000-0000-0000-000000000000}"/>
          </ac:spMkLst>
        </pc:spChg>
        <pc:grpChg chg="add">
          <ac:chgData name="Andrew Sharp" userId="53f178df-da21-4936-8a93-86de9258956d" providerId="ADAL" clId="{0C248C7E-5B4F-4D11-9379-C3CCEE5B67A0}" dt="2018-10-02T17:09:36.620" v="867"/>
          <ac:grpSpMkLst>
            <pc:docMk/>
            <pc:sldMk cId="3558682306" sldId="595"/>
            <ac:grpSpMk id="6" creationId="{02C14E60-0207-4BEC-B2D3-BEEF7CEFE167}"/>
          </ac:grpSpMkLst>
        </pc:grpChg>
        <pc:graphicFrameChg chg="mod modGraphic">
          <ac:chgData name="Andrew Sharp" userId="53f178df-da21-4936-8a93-86de9258956d" providerId="ADAL" clId="{0C248C7E-5B4F-4D11-9379-C3CCEE5B67A0}" dt="2018-11-02T21:19:02.318" v="26733" actId="1076"/>
          <ac:graphicFrameMkLst>
            <pc:docMk/>
            <pc:sldMk cId="3558682306" sldId="595"/>
            <ac:graphicFrameMk id="5" creationId="{00000000-0000-0000-0000-000000000000}"/>
          </ac:graphicFrameMkLst>
        </pc:graphicFrameChg>
      </pc:sldChg>
      <pc:sldChg chg="addSp modSp">
        <pc:chgData name="Andrew Sharp" userId="53f178df-da21-4936-8a93-86de9258956d" providerId="ADAL" clId="{0C248C7E-5B4F-4D11-9379-C3CCEE5B67A0}" dt="2018-11-03T16:46:17.162" v="29940" actId="113"/>
        <pc:sldMkLst>
          <pc:docMk/>
          <pc:sldMk cId="1962406398" sldId="596"/>
        </pc:sldMkLst>
        <pc:spChg chg="mod">
          <ac:chgData name="Andrew Sharp" userId="53f178df-da21-4936-8a93-86de9258956d" providerId="ADAL" clId="{0C248C7E-5B4F-4D11-9379-C3CCEE5B67A0}" dt="2018-11-03T16:46:17.162" v="29940" actId="113"/>
          <ac:spMkLst>
            <pc:docMk/>
            <pc:sldMk cId="1962406398" sldId="596"/>
            <ac:spMk id="7" creationId="{72A81AE4-532A-401A-9CE6-5AD024491DAD}"/>
          </ac:spMkLst>
        </pc:spChg>
        <pc:spChg chg="mod">
          <ac:chgData name="Andrew Sharp" userId="53f178df-da21-4936-8a93-86de9258956d" providerId="ADAL" clId="{0C248C7E-5B4F-4D11-9379-C3CCEE5B67A0}" dt="2018-10-02T17:06:28.800" v="800" actId="1076"/>
          <ac:spMkLst>
            <pc:docMk/>
            <pc:sldMk cId="1962406398" sldId="596"/>
            <ac:spMk id="9" creationId="{00000000-0000-0000-0000-000000000000}"/>
          </ac:spMkLst>
        </pc:spChg>
        <pc:grpChg chg="add">
          <ac:chgData name="Andrew Sharp" userId="53f178df-da21-4936-8a93-86de9258956d" providerId="ADAL" clId="{0C248C7E-5B4F-4D11-9379-C3CCEE5B67A0}" dt="2018-10-02T16:51:11.070" v="307"/>
          <ac:grpSpMkLst>
            <pc:docMk/>
            <pc:sldMk cId="1962406398" sldId="596"/>
            <ac:grpSpMk id="6" creationId="{135A7738-7A56-4503-8615-7729E419289B}"/>
          </ac:grpSpMkLst>
        </pc:grpChg>
        <pc:graphicFrameChg chg="mod modGraphic">
          <ac:chgData name="Andrew Sharp" userId="53f178df-da21-4936-8a93-86de9258956d" providerId="ADAL" clId="{0C248C7E-5B4F-4D11-9379-C3CCEE5B67A0}" dt="2018-11-02T21:19:36.711" v="26739" actId="14100"/>
          <ac:graphicFrameMkLst>
            <pc:docMk/>
            <pc:sldMk cId="1962406398" sldId="596"/>
            <ac:graphicFrameMk id="5" creationId="{00000000-0000-0000-0000-000000000000}"/>
          </ac:graphicFrameMkLst>
        </pc:graphicFrameChg>
      </pc:sldChg>
      <pc:sldChg chg="addSp modSp">
        <pc:chgData name="Andrew Sharp" userId="53f178df-da21-4936-8a93-86de9258956d" providerId="ADAL" clId="{0C248C7E-5B4F-4D11-9379-C3CCEE5B67A0}" dt="2018-11-03T16:46:23.797" v="29942" actId="113"/>
        <pc:sldMkLst>
          <pc:docMk/>
          <pc:sldMk cId="2279089620" sldId="597"/>
        </pc:sldMkLst>
        <pc:spChg chg="mod">
          <ac:chgData name="Andrew Sharp" userId="53f178df-da21-4936-8a93-86de9258956d" providerId="ADAL" clId="{0C248C7E-5B4F-4D11-9379-C3CCEE5B67A0}" dt="2018-10-02T16:58:22.956" v="599" actId="20577"/>
          <ac:spMkLst>
            <pc:docMk/>
            <pc:sldMk cId="2279089620" sldId="597"/>
            <ac:spMk id="4" creationId="{00000000-0000-0000-0000-000000000000}"/>
          </ac:spMkLst>
        </pc:spChg>
        <pc:spChg chg="mod">
          <ac:chgData name="Andrew Sharp" userId="53f178df-da21-4936-8a93-86de9258956d" providerId="ADAL" clId="{0C248C7E-5B4F-4D11-9379-C3CCEE5B67A0}" dt="2018-11-03T16:46:23.797" v="29942" actId="113"/>
          <ac:spMkLst>
            <pc:docMk/>
            <pc:sldMk cId="2279089620" sldId="597"/>
            <ac:spMk id="7" creationId="{28D7B395-0A6E-436B-A4AF-8BD34E231ED6}"/>
          </ac:spMkLst>
        </pc:spChg>
        <pc:grpChg chg="add mod">
          <ac:chgData name="Andrew Sharp" userId="53f178df-da21-4936-8a93-86de9258956d" providerId="ADAL" clId="{0C248C7E-5B4F-4D11-9379-C3CCEE5B67A0}" dt="2018-10-02T16:58:41.428" v="603" actId="1076"/>
          <ac:grpSpMkLst>
            <pc:docMk/>
            <pc:sldMk cId="2279089620" sldId="597"/>
            <ac:grpSpMk id="6" creationId="{32A5193D-67C0-4F57-9FC6-755EA8683C79}"/>
          </ac:grpSpMkLst>
        </pc:grpChg>
        <pc:graphicFrameChg chg="mod modGraphic">
          <ac:chgData name="Andrew Sharp" userId="53f178df-da21-4936-8a93-86de9258956d" providerId="ADAL" clId="{0C248C7E-5B4F-4D11-9379-C3CCEE5B67A0}" dt="2018-11-02T21:19:48.866" v="26741" actId="14100"/>
          <ac:graphicFrameMkLst>
            <pc:docMk/>
            <pc:sldMk cId="2279089620" sldId="597"/>
            <ac:graphicFrameMk id="5" creationId="{00000000-0000-0000-0000-000000000000}"/>
          </ac:graphicFrameMkLst>
        </pc:graphicFrameChg>
      </pc:sldChg>
      <pc:sldChg chg="modSp">
        <pc:chgData name="Andrew Sharp" userId="53f178df-da21-4936-8a93-86de9258956d" providerId="ADAL" clId="{0C248C7E-5B4F-4D11-9379-C3CCEE5B67A0}" dt="2018-11-03T16:46:32.146" v="29943" actId="1076"/>
        <pc:sldMkLst>
          <pc:docMk/>
          <pc:sldMk cId="1834325948" sldId="598"/>
        </pc:sldMkLst>
        <pc:spChg chg="mod">
          <ac:chgData name="Andrew Sharp" userId="53f178df-da21-4936-8a93-86de9258956d" providerId="ADAL" clId="{0C248C7E-5B4F-4D11-9379-C3CCEE5B67A0}" dt="2018-10-02T16:57:27.971" v="526" actId="20577"/>
          <ac:spMkLst>
            <pc:docMk/>
            <pc:sldMk cId="1834325948" sldId="598"/>
            <ac:spMk id="9" creationId="{00000000-0000-0000-0000-000000000000}"/>
          </ac:spMkLst>
        </pc:spChg>
        <pc:graphicFrameChg chg="mod modGraphic">
          <ac:chgData name="Andrew Sharp" userId="53f178df-da21-4936-8a93-86de9258956d" providerId="ADAL" clId="{0C248C7E-5B4F-4D11-9379-C3CCEE5B67A0}" dt="2018-11-03T16:46:32.146" v="29943" actId="1076"/>
          <ac:graphicFrameMkLst>
            <pc:docMk/>
            <pc:sldMk cId="1834325948" sldId="598"/>
            <ac:graphicFrameMk id="5" creationId="{00000000-0000-0000-0000-000000000000}"/>
          </ac:graphicFrameMkLst>
        </pc:graphicFrameChg>
      </pc:sldChg>
      <pc:sldChg chg="addSp delSp modSp">
        <pc:chgData name="Andrew Sharp" userId="53f178df-da21-4936-8a93-86de9258956d" providerId="ADAL" clId="{0C248C7E-5B4F-4D11-9379-C3CCEE5B67A0}" dt="2018-11-03T00:06:11.165" v="27115" actId="20577"/>
        <pc:sldMkLst>
          <pc:docMk/>
          <pc:sldMk cId="2618612611" sldId="599"/>
        </pc:sldMkLst>
        <pc:grpChg chg="add del">
          <ac:chgData name="Andrew Sharp" userId="53f178df-da21-4936-8a93-86de9258956d" providerId="ADAL" clId="{0C248C7E-5B4F-4D11-9379-C3CCEE5B67A0}" dt="2018-10-02T17:09:22.824" v="860" actId="478"/>
          <ac:grpSpMkLst>
            <pc:docMk/>
            <pc:sldMk cId="2618612611" sldId="599"/>
            <ac:grpSpMk id="6" creationId="{96304E58-4BEA-4175-AEE5-6C5715534341}"/>
          </ac:grpSpMkLst>
        </pc:grpChg>
        <pc:graphicFrameChg chg="mod modGraphic">
          <ac:chgData name="Andrew Sharp" userId="53f178df-da21-4936-8a93-86de9258956d" providerId="ADAL" clId="{0C248C7E-5B4F-4D11-9379-C3CCEE5B67A0}" dt="2018-11-03T00:06:11.165" v="27115" actId="20577"/>
          <ac:graphicFrameMkLst>
            <pc:docMk/>
            <pc:sldMk cId="2618612611" sldId="599"/>
            <ac:graphicFrameMk id="5" creationId="{00000000-0000-0000-0000-000000000000}"/>
          </ac:graphicFrameMkLst>
        </pc:graphicFrameChg>
      </pc:sldChg>
      <pc:sldChg chg="addSp modSp">
        <pc:chgData name="Andrew Sharp" userId="53f178df-da21-4936-8a93-86de9258956d" providerId="ADAL" clId="{0C248C7E-5B4F-4D11-9379-C3CCEE5B67A0}" dt="2018-11-03T16:32:34.925" v="29669" actId="20577"/>
        <pc:sldMkLst>
          <pc:docMk/>
          <pc:sldMk cId="2546089629" sldId="600"/>
        </pc:sldMkLst>
        <pc:spChg chg="mod">
          <ac:chgData name="Andrew Sharp" userId="53f178df-da21-4936-8a93-86de9258956d" providerId="ADAL" clId="{0C248C7E-5B4F-4D11-9379-C3CCEE5B67A0}" dt="2018-11-03T16:31:04.068" v="29639" actId="1076"/>
          <ac:spMkLst>
            <pc:docMk/>
            <pc:sldMk cId="2546089629" sldId="600"/>
            <ac:spMk id="6" creationId="{00000000-0000-0000-0000-000000000000}"/>
          </ac:spMkLst>
        </pc:spChg>
        <pc:spChg chg="mod">
          <ac:chgData name="Andrew Sharp" userId="53f178df-da21-4936-8a93-86de9258956d" providerId="ADAL" clId="{0C248C7E-5B4F-4D11-9379-C3CCEE5B67A0}" dt="2018-11-03T16:32:34.925" v="29669" actId="20577"/>
          <ac:spMkLst>
            <pc:docMk/>
            <pc:sldMk cId="2546089629" sldId="600"/>
            <ac:spMk id="7" creationId="{00000000-0000-0000-0000-000000000000}"/>
          </ac:spMkLst>
        </pc:spChg>
        <pc:spChg chg="mod">
          <ac:chgData name="Andrew Sharp" userId="53f178df-da21-4936-8a93-86de9258956d" providerId="ADAL" clId="{0C248C7E-5B4F-4D11-9379-C3CCEE5B67A0}" dt="2018-11-03T16:32:18.115" v="29667" actId="14100"/>
          <ac:spMkLst>
            <pc:docMk/>
            <pc:sldMk cId="2546089629" sldId="600"/>
            <ac:spMk id="8" creationId="{00000000-0000-0000-0000-000000000000}"/>
          </ac:spMkLst>
        </pc:spChg>
        <pc:cxnChg chg="add mod">
          <ac:chgData name="Andrew Sharp" userId="53f178df-da21-4936-8a93-86de9258956d" providerId="ADAL" clId="{0C248C7E-5B4F-4D11-9379-C3CCEE5B67A0}" dt="2018-11-03T16:32:09.291" v="29664" actId="1076"/>
          <ac:cxnSpMkLst>
            <pc:docMk/>
            <pc:sldMk cId="2546089629" sldId="600"/>
            <ac:cxnSpMk id="12" creationId="{EC2D111B-166E-448C-B446-710B6180B2D3}"/>
          </ac:cxnSpMkLst>
        </pc:cxnChg>
      </pc:sldChg>
      <pc:sldChg chg="delSp modSp addCm delCm modCm">
        <pc:chgData name="Andrew Sharp" userId="53f178df-da21-4936-8a93-86de9258956d" providerId="ADAL" clId="{0C248C7E-5B4F-4D11-9379-C3CCEE5B67A0}" dt="2018-11-08T18:30:45.920" v="41088" actId="1592"/>
        <pc:sldMkLst>
          <pc:docMk/>
          <pc:sldMk cId="372444949" sldId="601"/>
        </pc:sldMkLst>
        <pc:spChg chg="del">
          <ac:chgData name="Andrew Sharp" userId="53f178df-da21-4936-8a93-86de9258956d" providerId="ADAL" clId="{0C248C7E-5B4F-4D11-9379-C3CCEE5B67A0}" dt="2018-10-24T17:37:02.010" v="11004" actId="478"/>
          <ac:spMkLst>
            <pc:docMk/>
            <pc:sldMk cId="372444949" sldId="601"/>
            <ac:spMk id="4" creationId="{00000000-0000-0000-0000-000000000000}"/>
          </ac:spMkLst>
        </pc:spChg>
        <pc:spChg chg="del mod">
          <ac:chgData name="Andrew Sharp" userId="53f178df-da21-4936-8a93-86de9258956d" providerId="ADAL" clId="{0C248C7E-5B4F-4D11-9379-C3CCEE5B67A0}" dt="2018-10-24T17:37:02.010" v="11004" actId="478"/>
          <ac:spMkLst>
            <pc:docMk/>
            <pc:sldMk cId="372444949" sldId="601"/>
            <ac:spMk id="7" creationId="{00000000-0000-0000-0000-000000000000}"/>
          </ac:spMkLst>
        </pc:spChg>
        <pc:spChg chg="del">
          <ac:chgData name="Andrew Sharp" userId="53f178df-da21-4936-8a93-86de9258956d" providerId="ADAL" clId="{0C248C7E-5B4F-4D11-9379-C3CCEE5B67A0}" dt="2018-10-24T17:37:02.010" v="11004" actId="478"/>
          <ac:spMkLst>
            <pc:docMk/>
            <pc:sldMk cId="372444949" sldId="601"/>
            <ac:spMk id="8" creationId="{00000000-0000-0000-0000-000000000000}"/>
          </ac:spMkLst>
        </pc:spChg>
        <pc:spChg chg="del">
          <ac:chgData name="Andrew Sharp" userId="53f178df-da21-4936-8a93-86de9258956d" providerId="ADAL" clId="{0C248C7E-5B4F-4D11-9379-C3CCEE5B67A0}" dt="2018-10-24T17:37:02.010" v="11004" actId="478"/>
          <ac:spMkLst>
            <pc:docMk/>
            <pc:sldMk cId="372444949" sldId="601"/>
            <ac:spMk id="9" creationId="{00000000-0000-0000-0000-000000000000}"/>
          </ac:spMkLst>
        </pc:spChg>
        <pc:spChg chg="mod">
          <ac:chgData name="Andrew Sharp" userId="53f178df-da21-4936-8a93-86de9258956d" providerId="ADAL" clId="{0C248C7E-5B4F-4D11-9379-C3CCEE5B67A0}" dt="2018-10-09T15:23:52.821" v="1166" actId="20577"/>
          <ac:spMkLst>
            <pc:docMk/>
            <pc:sldMk cId="372444949" sldId="601"/>
            <ac:spMk id="11" creationId="{00000000-0000-0000-0000-000000000000}"/>
          </ac:spMkLst>
        </pc:spChg>
        <pc:spChg chg="mod">
          <ac:chgData name="Andrew Sharp" userId="53f178df-da21-4936-8a93-86de9258956d" providerId="ADAL" clId="{0C248C7E-5B4F-4D11-9379-C3CCEE5B67A0}" dt="2018-10-09T17:35:21.298" v="2326" actId="6549"/>
          <ac:spMkLst>
            <pc:docMk/>
            <pc:sldMk cId="372444949" sldId="601"/>
            <ac:spMk id="12" creationId="{00000000-0000-0000-0000-000000000000}"/>
          </ac:spMkLst>
        </pc:spChg>
        <pc:spChg chg="mod">
          <ac:chgData name="Andrew Sharp" userId="53f178df-da21-4936-8a93-86de9258956d" providerId="ADAL" clId="{0C248C7E-5B4F-4D11-9379-C3CCEE5B67A0}" dt="2018-10-09T15:52:27.203" v="1292" actId="20577"/>
          <ac:spMkLst>
            <pc:docMk/>
            <pc:sldMk cId="372444949" sldId="601"/>
            <ac:spMk id="13" creationId="{00000000-0000-0000-0000-000000000000}"/>
          </ac:spMkLst>
        </pc:spChg>
        <pc:spChg chg="mod">
          <ac:chgData name="Andrew Sharp" userId="53f178df-da21-4936-8a93-86de9258956d" providerId="ADAL" clId="{0C248C7E-5B4F-4D11-9379-C3CCEE5B67A0}" dt="2018-10-19T18:44:31.762" v="3608" actId="6549"/>
          <ac:spMkLst>
            <pc:docMk/>
            <pc:sldMk cId="372444949" sldId="601"/>
            <ac:spMk id="14" creationId="{00000000-0000-0000-0000-000000000000}"/>
          </ac:spMkLst>
        </pc:spChg>
        <pc:spChg chg="mod">
          <ac:chgData name="Andrew Sharp" userId="53f178df-da21-4936-8a93-86de9258956d" providerId="ADAL" clId="{0C248C7E-5B4F-4D11-9379-C3CCEE5B67A0}" dt="2018-10-09T17:25:08.161" v="2092" actId="20577"/>
          <ac:spMkLst>
            <pc:docMk/>
            <pc:sldMk cId="372444949" sldId="601"/>
            <ac:spMk id="15" creationId="{00000000-0000-0000-0000-000000000000}"/>
          </ac:spMkLst>
        </pc:spChg>
        <pc:spChg chg="mod">
          <ac:chgData name="Andrew Sharp" userId="53f178df-da21-4936-8a93-86de9258956d" providerId="ADAL" clId="{0C248C7E-5B4F-4D11-9379-C3CCEE5B67A0}" dt="2018-10-09T17:33:46.108" v="2325" actId="6549"/>
          <ac:spMkLst>
            <pc:docMk/>
            <pc:sldMk cId="372444949" sldId="601"/>
            <ac:spMk id="16" creationId="{00000000-0000-0000-0000-000000000000}"/>
          </ac:spMkLst>
        </pc:spChg>
        <pc:spChg chg="mod">
          <ac:chgData name="Andrew Sharp" userId="53f178df-da21-4936-8a93-86de9258956d" providerId="ADAL" clId="{0C248C7E-5B4F-4D11-9379-C3CCEE5B67A0}" dt="2018-10-09T17:33:16.449" v="2291" actId="20577"/>
          <ac:spMkLst>
            <pc:docMk/>
            <pc:sldMk cId="372444949" sldId="601"/>
            <ac:spMk id="17" creationId="{00000000-0000-0000-0000-000000000000}"/>
          </ac:spMkLst>
        </pc:spChg>
      </pc:sldChg>
      <pc:sldChg chg="modSp addCm delCm">
        <pc:chgData name="Andrew Sharp" userId="53f178df-da21-4936-8a93-86de9258956d" providerId="ADAL" clId="{0C248C7E-5B4F-4D11-9379-C3CCEE5B67A0}" dt="2018-11-12T18:05:48.557" v="42038" actId="20577"/>
        <pc:sldMkLst>
          <pc:docMk/>
          <pc:sldMk cId="675072539" sldId="602"/>
        </pc:sldMkLst>
        <pc:spChg chg="mod">
          <ac:chgData name="Andrew Sharp" userId="53f178df-da21-4936-8a93-86de9258956d" providerId="ADAL" clId="{0C248C7E-5B4F-4D11-9379-C3CCEE5B67A0}" dt="2018-10-25T14:13:54.168" v="20269" actId="20577"/>
          <ac:spMkLst>
            <pc:docMk/>
            <pc:sldMk cId="675072539" sldId="602"/>
            <ac:spMk id="2" creationId="{00000000-0000-0000-0000-000000000000}"/>
          </ac:spMkLst>
        </pc:spChg>
        <pc:spChg chg="mod">
          <ac:chgData name="Andrew Sharp" userId="53f178df-da21-4936-8a93-86de9258956d" providerId="ADAL" clId="{0C248C7E-5B4F-4D11-9379-C3CCEE5B67A0}" dt="2018-11-12T18:05:48.557" v="42038" actId="20577"/>
          <ac:spMkLst>
            <pc:docMk/>
            <pc:sldMk cId="675072539" sldId="602"/>
            <ac:spMk id="3" creationId="{00000000-0000-0000-0000-000000000000}"/>
          </ac:spMkLst>
        </pc:spChg>
      </pc:sldChg>
      <pc:sldChg chg="delSp modSp addCm delCm modCm">
        <pc:chgData name="Andrew Sharp" userId="53f178df-da21-4936-8a93-86de9258956d" providerId="ADAL" clId="{0C248C7E-5B4F-4D11-9379-C3CCEE5B67A0}" dt="2018-11-08T18:39:34.790" v="41288" actId="1592"/>
        <pc:sldMkLst>
          <pc:docMk/>
          <pc:sldMk cId="650153377" sldId="604"/>
        </pc:sldMkLst>
        <pc:spChg chg="del">
          <ac:chgData name="Andrew Sharp" userId="53f178df-da21-4936-8a93-86de9258956d" providerId="ADAL" clId="{0C248C7E-5B4F-4D11-9379-C3CCEE5B67A0}" dt="2018-10-24T19:32:23.586" v="13269" actId="478"/>
          <ac:spMkLst>
            <pc:docMk/>
            <pc:sldMk cId="650153377" sldId="604"/>
            <ac:spMk id="4" creationId="{00000000-0000-0000-0000-000000000000}"/>
          </ac:spMkLst>
        </pc:spChg>
        <pc:spChg chg="del">
          <ac:chgData name="Andrew Sharp" userId="53f178df-da21-4936-8a93-86de9258956d" providerId="ADAL" clId="{0C248C7E-5B4F-4D11-9379-C3CCEE5B67A0}" dt="2018-10-24T19:32:23.586" v="13269" actId="478"/>
          <ac:spMkLst>
            <pc:docMk/>
            <pc:sldMk cId="650153377" sldId="604"/>
            <ac:spMk id="7" creationId="{00000000-0000-0000-0000-000000000000}"/>
          </ac:spMkLst>
        </pc:spChg>
        <pc:spChg chg="del">
          <ac:chgData name="Andrew Sharp" userId="53f178df-da21-4936-8a93-86de9258956d" providerId="ADAL" clId="{0C248C7E-5B4F-4D11-9379-C3CCEE5B67A0}" dt="2018-10-24T19:32:23.586" v="13269" actId="478"/>
          <ac:spMkLst>
            <pc:docMk/>
            <pc:sldMk cId="650153377" sldId="604"/>
            <ac:spMk id="8" creationId="{00000000-0000-0000-0000-000000000000}"/>
          </ac:spMkLst>
        </pc:spChg>
        <pc:spChg chg="mod">
          <ac:chgData name="Andrew Sharp" userId="53f178df-da21-4936-8a93-86de9258956d" providerId="ADAL" clId="{0C248C7E-5B4F-4D11-9379-C3CCEE5B67A0}" dt="2018-10-24T19:46:50.557" v="13964" actId="20577"/>
          <ac:spMkLst>
            <pc:docMk/>
            <pc:sldMk cId="650153377" sldId="604"/>
            <ac:spMk id="13" creationId="{00000000-0000-0000-0000-000000000000}"/>
          </ac:spMkLst>
        </pc:spChg>
        <pc:spChg chg="mod">
          <ac:chgData name="Andrew Sharp" userId="53f178df-da21-4936-8a93-86de9258956d" providerId="ADAL" clId="{0C248C7E-5B4F-4D11-9379-C3CCEE5B67A0}" dt="2018-10-24T19:42:58.761" v="13801" actId="20577"/>
          <ac:spMkLst>
            <pc:docMk/>
            <pc:sldMk cId="650153377" sldId="604"/>
            <ac:spMk id="14" creationId="{00000000-0000-0000-0000-000000000000}"/>
          </ac:spMkLst>
        </pc:spChg>
        <pc:spChg chg="mod">
          <ac:chgData name="Andrew Sharp" userId="53f178df-da21-4936-8a93-86de9258956d" providerId="ADAL" clId="{0C248C7E-5B4F-4D11-9379-C3CCEE5B67A0}" dt="2018-10-24T19:47:37.887" v="13968" actId="20577"/>
          <ac:spMkLst>
            <pc:docMk/>
            <pc:sldMk cId="650153377" sldId="604"/>
            <ac:spMk id="15" creationId="{00000000-0000-0000-0000-000000000000}"/>
          </ac:spMkLst>
        </pc:spChg>
        <pc:spChg chg="mod">
          <ac:chgData name="Andrew Sharp" userId="53f178df-da21-4936-8a93-86de9258956d" providerId="ADAL" clId="{0C248C7E-5B4F-4D11-9379-C3CCEE5B67A0}" dt="2018-10-24T19:49:35.039" v="14283" actId="20577"/>
          <ac:spMkLst>
            <pc:docMk/>
            <pc:sldMk cId="650153377" sldId="604"/>
            <ac:spMk id="16" creationId="{00000000-0000-0000-0000-000000000000}"/>
          </ac:spMkLst>
        </pc:spChg>
        <pc:spChg chg="mod">
          <ac:chgData name="Andrew Sharp" userId="53f178df-da21-4936-8a93-86de9258956d" providerId="ADAL" clId="{0C248C7E-5B4F-4D11-9379-C3CCEE5B67A0}" dt="2018-10-24T19:50:00.840" v="14299" actId="20577"/>
          <ac:spMkLst>
            <pc:docMk/>
            <pc:sldMk cId="650153377" sldId="604"/>
            <ac:spMk id="18" creationId="{00000000-0000-0000-0000-000000000000}"/>
          </ac:spMkLst>
        </pc:spChg>
        <pc:spChg chg="mod">
          <ac:chgData name="Andrew Sharp" userId="53f178df-da21-4936-8a93-86de9258956d" providerId="ADAL" clId="{0C248C7E-5B4F-4D11-9379-C3CCEE5B67A0}" dt="2018-10-24T20:00:35.594" v="14633" actId="113"/>
          <ac:spMkLst>
            <pc:docMk/>
            <pc:sldMk cId="650153377" sldId="604"/>
            <ac:spMk id="19" creationId="{00000000-0000-0000-0000-000000000000}"/>
          </ac:spMkLst>
        </pc:spChg>
        <pc:grpChg chg="mod">
          <ac:chgData name="Andrew Sharp" userId="53f178df-da21-4936-8a93-86de9258956d" providerId="ADAL" clId="{0C248C7E-5B4F-4D11-9379-C3CCEE5B67A0}" dt="2018-10-24T19:59:20.228" v="14606" actId="1076"/>
          <ac:grpSpMkLst>
            <pc:docMk/>
            <pc:sldMk cId="650153377" sldId="604"/>
            <ac:grpSpMk id="2" creationId="{00000000-0000-0000-0000-000000000000}"/>
          </ac:grpSpMkLst>
        </pc:grpChg>
        <pc:grpChg chg="del mod">
          <ac:chgData name="Andrew Sharp" userId="53f178df-da21-4936-8a93-86de9258956d" providerId="ADAL" clId="{0C248C7E-5B4F-4D11-9379-C3CCEE5B67A0}" dt="2018-10-24T19:52:33.771" v="14384" actId="478"/>
          <ac:grpSpMkLst>
            <pc:docMk/>
            <pc:sldMk cId="650153377" sldId="604"/>
            <ac:grpSpMk id="3" creationId="{00000000-0000-0000-0000-000000000000}"/>
          </ac:grpSpMkLst>
        </pc:grpChg>
        <pc:grpChg chg="mod">
          <ac:chgData name="Andrew Sharp" userId="53f178df-da21-4936-8a93-86de9258956d" providerId="ADAL" clId="{0C248C7E-5B4F-4D11-9379-C3CCEE5B67A0}" dt="2018-10-24T19:59:52.157" v="14631" actId="1035"/>
          <ac:grpSpMkLst>
            <pc:docMk/>
            <pc:sldMk cId="650153377" sldId="604"/>
            <ac:grpSpMk id="9" creationId="{00000000-0000-0000-0000-000000000000}"/>
          </ac:grpSpMkLst>
        </pc:grpChg>
      </pc:sldChg>
      <pc:sldChg chg="delSp modSp addCm delCm">
        <pc:chgData name="Andrew Sharp" userId="53f178df-da21-4936-8a93-86de9258956d" providerId="ADAL" clId="{0C248C7E-5B4F-4D11-9379-C3CCEE5B67A0}" dt="2018-11-08T19:00:06.303" v="41933" actId="1592"/>
        <pc:sldMkLst>
          <pc:docMk/>
          <pc:sldMk cId="4148232871" sldId="605"/>
        </pc:sldMkLst>
        <pc:spChg chg="mod">
          <ac:chgData name="Andrew Sharp" userId="53f178df-da21-4936-8a93-86de9258956d" providerId="ADAL" clId="{0C248C7E-5B4F-4D11-9379-C3CCEE5B67A0}" dt="2018-10-26T14:17:54.795" v="22426" actId="20577"/>
          <ac:spMkLst>
            <pc:docMk/>
            <pc:sldMk cId="4148232871" sldId="605"/>
            <ac:spMk id="2" creationId="{00000000-0000-0000-0000-000000000000}"/>
          </ac:spMkLst>
        </pc:spChg>
        <pc:spChg chg="mod">
          <ac:chgData name="Andrew Sharp" userId="53f178df-da21-4936-8a93-86de9258956d" providerId="ADAL" clId="{0C248C7E-5B4F-4D11-9379-C3CCEE5B67A0}" dt="2018-10-26T14:17:18.783" v="22397" actId="20577"/>
          <ac:spMkLst>
            <pc:docMk/>
            <pc:sldMk cId="4148232871" sldId="605"/>
            <ac:spMk id="3" creationId="{00000000-0000-0000-0000-000000000000}"/>
          </ac:spMkLst>
        </pc:spChg>
        <pc:spChg chg="del mod">
          <ac:chgData name="Andrew Sharp" userId="53f178df-da21-4936-8a93-86de9258956d" providerId="ADAL" clId="{0C248C7E-5B4F-4D11-9379-C3CCEE5B67A0}" dt="2018-10-26T14:14:15.082" v="22095" actId="478"/>
          <ac:spMkLst>
            <pc:docMk/>
            <pc:sldMk cId="4148232871" sldId="605"/>
            <ac:spMk id="4" creationId="{00000000-0000-0000-0000-000000000000}"/>
          </ac:spMkLst>
        </pc:spChg>
        <pc:spChg chg="mod">
          <ac:chgData name="Andrew Sharp" userId="53f178df-da21-4936-8a93-86de9258956d" providerId="ADAL" clId="{0C248C7E-5B4F-4D11-9379-C3CCEE5B67A0}" dt="2018-10-26T14:12:45.362" v="22085" actId="20577"/>
          <ac:spMkLst>
            <pc:docMk/>
            <pc:sldMk cId="4148232871" sldId="605"/>
            <ac:spMk id="6" creationId="{00000000-0000-0000-0000-000000000000}"/>
          </ac:spMkLst>
        </pc:spChg>
        <pc:spChg chg="mod">
          <ac:chgData name="Andrew Sharp" userId="53f178df-da21-4936-8a93-86de9258956d" providerId="ADAL" clId="{0C248C7E-5B4F-4D11-9379-C3CCEE5B67A0}" dt="2018-10-26T14:14:37.091" v="22097" actId="1076"/>
          <ac:spMkLst>
            <pc:docMk/>
            <pc:sldMk cId="4148232871" sldId="605"/>
            <ac:spMk id="7" creationId="{00000000-0000-0000-0000-000000000000}"/>
          </ac:spMkLst>
        </pc:spChg>
        <pc:spChg chg="mod">
          <ac:chgData name="Andrew Sharp" userId="53f178df-da21-4936-8a93-86de9258956d" providerId="ADAL" clId="{0C248C7E-5B4F-4D11-9379-C3CCEE5B67A0}" dt="2018-10-26T14:14:37.091" v="22097" actId="1076"/>
          <ac:spMkLst>
            <pc:docMk/>
            <pc:sldMk cId="4148232871" sldId="605"/>
            <ac:spMk id="8" creationId="{00000000-0000-0000-0000-000000000000}"/>
          </ac:spMkLst>
        </pc:spChg>
        <pc:spChg chg="mod">
          <ac:chgData name="Andrew Sharp" userId="53f178df-da21-4936-8a93-86de9258956d" providerId="ADAL" clId="{0C248C7E-5B4F-4D11-9379-C3CCEE5B67A0}" dt="2018-10-26T14:14:37.091" v="22097" actId="1076"/>
          <ac:spMkLst>
            <pc:docMk/>
            <pc:sldMk cId="4148232871" sldId="605"/>
            <ac:spMk id="9" creationId="{00000000-0000-0000-0000-000000000000}"/>
          </ac:spMkLst>
        </pc:spChg>
        <pc:spChg chg="mod">
          <ac:chgData name="Andrew Sharp" userId="53f178df-da21-4936-8a93-86de9258956d" providerId="ADAL" clId="{0C248C7E-5B4F-4D11-9379-C3CCEE5B67A0}" dt="2018-10-26T14:14:42.296" v="22098" actId="1076"/>
          <ac:spMkLst>
            <pc:docMk/>
            <pc:sldMk cId="4148232871" sldId="605"/>
            <ac:spMk id="11" creationId="{00000000-0000-0000-0000-000000000000}"/>
          </ac:spMkLst>
        </pc:spChg>
        <pc:spChg chg="mod">
          <ac:chgData name="Andrew Sharp" userId="53f178df-da21-4936-8a93-86de9258956d" providerId="ADAL" clId="{0C248C7E-5B4F-4D11-9379-C3CCEE5B67A0}" dt="2018-10-26T14:16:23.597" v="22280" actId="14100"/>
          <ac:spMkLst>
            <pc:docMk/>
            <pc:sldMk cId="4148232871" sldId="605"/>
            <ac:spMk id="12" creationId="{00000000-0000-0000-0000-000000000000}"/>
          </ac:spMkLst>
        </pc:spChg>
        <pc:spChg chg="mod">
          <ac:chgData name="Andrew Sharp" userId="53f178df-da21-4936-8a93-86de9258956d" providerId="ADAL" clId="{0C248C7E-5B4F-4D11-9379-C3CCEE5B67A0}" dt="2018-10-26T14:14:42.296" v="22098" actId="1076"/>
          <ac:spMkLst>
            <pc:docMk/>
            <pc:sldMk cId="4148232871" sldId="605"/>
            <ac:spMk id="13" creationId="{00000000-0000-0000-0000-000000000000}"/>
          </ac:spMkLst>
        </pc:spChg>
        <pc:spChg chg="del mod">
          <ac:chgData name="Andrew Sharp" userId="53f178df-da21-4936-8a93-86de9258956d" providerId="ADAL" clId="{0C248C7E-5B4F-4D11-9379-C3CCEE5B67A0}" dt="2018-10-26T14:14:15.082" v="22095" actId="478"/>
          <ac:spMkLst>
            <pc:docMk/>
            <pc:sldMk cId="4148232871" sldId="605"/>
            <ac:spMk id="14" creationId="{00000000-0000-0000-0000-000000000000}"/>
          </ac:spMkLst>
        </pc:spChg>
        <pc:spChg chg="del mod">
          <ac:chgData name="Andrew Sharp" userId="53f178df-da21-4936-8a93-86de9258956d" providerId="ADAL" clId="{0C248C7E-5B4F-4D11-9379-C3CCEE5B67A0}" dt="2018-10-26T14:14:15.082" v="22095" actId="478"/>
          <ac:spMkLst>
            <pc:docMk/>
            <pc:sldMk cId="4148232871" sldId="605"/>
            <ac:spMk id="15" creationId="{00000000-0000-0000-0000-000000000000}"/>
          </ac:spMkLst>
        </pc:spChg>
        <pc:spChg chg="del mod">
          <ac:chgData name="Andrew Sharp" userId="53f178df-da21-4936-8a93-86de9258956d" providerId="ADAL" clId="{0C248C7E-5B4F-4D11-9379-C3CCEE5B67A0}" dt="2018-10-26T14:14:15.082" v="22095" actId="478"/>
          <ac:spMkLst>
            <pc:docMk/>
            <pc:sldMk cId="4148232871" sldId="605"/>
            <ac:spMk id="16" creationId="{00000000-0000-0000-0000-000000000000}"/>
          </ac:spMkLst>
        </pc:spChg>
      </pc:sldChg>
      <pc:sldChg chg="addSp delSp modSp add ord">
        <pc:chgData name="Andrew Sharp" userId="53f178df-da21-4936-8a93-86de9258956d" providerId="ADAL" clId="{0C248C7E-5B4F-4D11-9379-C3CCEE5B67A0}" dt="2018-11-12T18:06:17.287" v="42056" actId="5793"/>
        <pc:sldMkLst>
          <pc:docMk/>
          <pc:sldMk cId="3853767030" sldId="608"/>
        </pc:sldMkLst>
        <pc:spChg chg="del">
          <ac:chgData name="Andrew Sharp" userId="53f178df-da21-4936-8a93-86de9258956d" providerId="ADAL" clId="{0C248C7E-5B4F-4D11-9379-C3CCEE5B67A0}" dt="2018-10-22T14:25:44.843" v="9197"/>
          <ac:spMkLst>
            <pc:docMk/>
            <pc:sldMk cId="3853767030" sldId="608"/>
            <ac:spMk id="2" creationId="{8E71DDB0-2EA7-4E25-BD6C-FE4053FED099}"/>
          </ac:spMkLst>
        </pc:spChg>
        <pc:spChg chg="del">
          <ac:chgData name="Andrew Sharp" userId="53f178df-da21-4936-8a93-86de9258956d" providerId="ADAL" clId="{0C248C7E-5B4F-4D11-9379-C3CCEE5B67A0}" dt="2018-10-22T14:25:44.843" v="9197"/>
          <ac:spMkLst>
            <pc:docMk/>
            <pc:sldMk cId="3853767030" sldId="608"/>
            <ac:spMk id="3" creationId="{ACFFB72A-CC1B-43A1-ADF0-12FC45E6A4B1}"/>
          </ac:spMkLst>
        </pc:spChg>
        <pc:spChg chg="del">
          <ac:chgData name="Andrew Sharp" userId="53f178df-da21-4936-8a93-86de9258956d" providerId="ADAL" clId="{0C248C7E-5B4F-4D11-9379-C3CCEE5B67A0}" dt="2018-10-22T14:25:44.843" v="9197"/>
          <ac:spMkLst>
            <pc:docMk/>
            <pc:sldMk cId="3853767030" sldId="608"/>
            <ac:spMk id="4" creationId="{D585FD8F-CABC-401B-8264-A6ACF762AAB2}"/>
          </ac:spMkLst>
        </pc:spChg>
        <pc:spChg chg="add mod">
          <ac:chgData name="Andrew Sharp" userId="53f178df-da21-4936-8a93-86de9258956d" providerId="ADAL" clId="{0C248C7E-5B4F-4D11-9379-C3CCEE5B67A0}" dt="2018-10-22T14:33:21.129" v="9283" actId="20577"/>
          <ac:spMkLst>
            <pc:docMk/>
            <pc:sldMk cId="3853767030" sldId="608"/>
            <ac:spMk id="5" creationId="{1F31A2F1-AA0A-4623-A369-F5209772660E}"/>
          </ac:spMkLst>
        </pc:spChg>
        <pc:spChg chg="add mod">
          <ac:chgData name="Andrew Sharp" userId="53f178df-da21-4936-8a93-86de9258956d" providerId="ADAL" clId="{0C248C7E-5B4F-4D11-9379-C3CCEE5B67A0}" dt="2018-10-24T18:22:11.858" v="11633" actId="20577"/>
          <ac:spMkLst>
            <pc:docMk/>
            <pc:sldMk cId="3853767030" sldId="608"/>
            <ac:spMk id="6" creationId="{B5CE556C-219D-4CAD-BAB0-955692EB8977}"/>
          </ac:spMkLst>
        </pc:spChg>
        <pc:spChg chg="add mod">
          <ac:chgData name="Andrew Sharp" userId="53f178df-da21-4936-8a93-86de9258956d" providerId="ADAL" clId="{0C248C7E-5B4F-4D11-9379-C3CCEE5B67A0}" dt="2018-11-12T18:06:17.287" v="42056" actId="5793"/>
          <ac:spMkLst>
            <pc:docMk/>
            <pc:sldMk cId="3853767030" sldId="608"/>
            <ac:spMk id="7" creationId="{8C26CE98-874A-4676-A962-E85366180035}"/>
          </ac:spMkLst>
        </pc:spChg>
        <pc:spChg chg="mod">
          <ac:chgData name="Andrew Sharp" userId="53f178df-da21-4936-8a93-86de9258956d" providerId="ADAL" clId="{0C248C7E-5B4F-4D11-9379-C3CCEE5B67A0}" dt="2018-10-22T14:32:06.355" v="9226" actId="14100"/>
          <ac:spMkLst>
            <pc:docMk/>
            <pc:sldMk cId="3853767030" sldId="608"/>
            <ac:spMk id="59" creationId="{B083321A-4B9D-448A-8754-2D9DA0A11DD6}"/>
          </ac:spMkLst>
        </pc:spChg>
        <pc:spChg chg="mod">
          <ac:chgData name="Andrew Sharp" userId="53f178df-da21-4936-8a93-86de9258956d" providerId="ADAL" clId="{0C248C7E-5B4F-4D11-9379-C3CCEE5B67A0}" dt="2018-10-24T18:16:44.553" v="11432" actId="14100"/>
          <ac:spMkLst>
            <pc:docMk/>
            <pc:sldMk cId="3853767030" sldId="608"/>
            <ac:spMk id="65" creationId="{25C0E2BA-AB2F-4147-BC33-9688F28114CD}"/>
          </ac:spMkLst>
        </pc:spChg>
        <pc:spChg chg="mod topLvl">
          <ac:chgData name="Andrew Sharp" userId="53f178df-da21-4936-8a93-86de9258956d" providerId="ADAL" clId="{0C248C7E-5B4F-4D11-9379-C3CCEE5B67A0}" dt="2018-10-24T18:20:58.107" v="11545" actId="1038"/>
          <ac:spMkLst>
            <pc:docMk/>
            <pc:sldMk cId="3853767030" sldId="608"/>
            <ac:spMk id="68" creationId="{CEAC6482-AB10-4B5C-A761-58EC31F31EC4}"/>
          </ac:spMkLst>
        </pc:spChg>
        <pc:spChg chg="mod topLvl">
          <ac:chgData name="Andrew Sharp" userId="53f178df-da21-4936-8a93-86de9258956d" providerId="ADAL" clId="{0C248C7E-5B4F-4D11-9379-C3CCEE5B67A0}" dt="2018-10-24T18:20:58.107" v="11545" actId="1038"/>
          <ac:spMkLst>
            <pc:docMk/>
            <pc:sldMk cId="3853767030" sldId="608"/>
            <ac:spMk id="71" creationId="{CA043EE6-0D3C-4EBA-BECC-5AF21D55B89B}"/>
          </ac:spMkLst>
        </pc:spChg>
        <pc:spChg chg="mod">
          <ac:chgData name="Andrew Sharp" userId="53f178df-da21-4936-8a93-86de9258956d" providerId="ADAL" clId="{0C248C7E-5B4F-4D11-9379-C3CCEE5B67A0}" dt="2018-10-24T18:19:02.198" v="11512" actId="20577"/>
          <ac:spMkLst>
            <pc:docMk/>
            <pc:sldMk cId="3853767030" sldId="608"/>
            <ac:spMk id="74" creationId="{C6C2553A-3815-43F8-BB6D-EE62D773DCE4}"/>
          </ac:spMkLst>
        </pc:spChg>
        <pc:spChg chg="add">
          <ac:chgData name="Andrew Sharp" userId="53f178df-da21-4936-8a93-86de9258956d" providerId="ADAL" clId="{0C248C7E-5B4F-4D11-9379-C3CCEE5B67A0}" dt="2018-10-22T14:33:27.297" v="9284"/>
          <ac:spMkLst>
            <pc:docMk/>
            <pc:sldMk cId="3853767030" sldId="608"/>
            <ac:spMk id="76" creationId="{30A4D5E6-9BFA-4344-9682-8D91656D06EC}"/>
          </ac:spMkLst>
        </pc:spChg>
        <pc:grpChg chg="add del mod">
          <ac:chgData name="Andrew Sharp" userId="53f178df-da21-4936-8a93-86de9258956d" providerId="ADAL" clId="{0C248C7E-5B4F-4D11-9379-C3CCEE5B67A0}" dt="2018-10-24T18:17:41.904" v="11439" actId="478"/>
          <ac:grpSpMkLst>
            <pc:docMk/>
            <pc:sldMk cId="3853767030" sldId="608"/>
            <ac:grpSpMk id="8" creationId="{7AF56964-16D9-4C19-AAB7-837E0C079249}"/>
          </ac:grpSpMkLst>
        </pc:grpChg>
        <pc:grpChg chg="add del mod">
          <ac:chgData name="Andrew Sharp" userId="53f178df-da21-4936-8a93-86de9258956d" providerId="ADAL" clId="{0C248C7E-5B4F-4D11-9379-C3CCEE5B67A0}" dt="2018-10-24T18:13:10.999" v="11106" actId="478"/>
          <ac:grpSpMkLst>
            <pc:docMk/>
            <pc:sldMk cId="3853767030" sldId="608"/>
            <ac:grpSpMk id="57" creationId="{37EBD1A1-CD93-45F9-8147-E163997DA622}"/>
          </ac:grpSpMkLst>
        </pc:grpChg>
        <pc:grpChg chg="add del mod">
          <ac:chgData name="Andrew Sharp" userId="53f178df-da21-4936-8a93-86de9258956d" providerId="ADAL" clId="{0C248C7E-5B4F-4D11-9379-C3CCEE5B67A0}" dt="2018-10-24T18:13:10.999" v="11106" actId="478"/>
          <ac:grpSpMkLst>
            <pc:docMk/>
            <pc:sldMk cId="3853767030" sldId="608"/>
            <ac:grpSpMk id="60" creationId="{A9E1DEBE-1A22-4A44-B191-25EFF6CDC1BC}"/>
          </ac:grpSpMkLst>
        </pc:grpChg>
        <pc:grpChg chg="add mod">
          <ac:chgData name="Andrew Sharp" userId="53f178df-da21-4936-8a93-86de9258956d" providerId="ADAL" clId="{0C248C7E-5B4F-4D11-9379-C3CCEE5B67A0}" dt="2018-10-24T18:20:58.107" v="11545" actId="1038"/>
          <ac:grpSpMkLst>
            <pc:docMk/>
            <pc:sldMk cId="3853767030" sldId="608"/>
            <ac:grpSpMk id="64" creationId="{A3DDA982-76C8-4158-ADE3-A57AEEA020A9}"/>
          </ac:grpSpMkLst>
        </pc:grpChg>
        <pc:grpChg chg="add del mod">
          <ac:chgData name="Andrew Sharp" userId="53f178df-da21-4936-8a93-86de9258956d" providerId="ADAL" clId="{0C248C7E-5B4F-4D11-9379-C3CCEE5B67A0}" dt="2018-10-24T18:17:28.192" v="11436" actId="478"/>
          <ac:grpSpMkLst>
            <pc:docMk/>
            <pc:sldMk cId="3853767030" sldId="608"/>
            <ac:grpSpMk id="67" creationId="{A67E7099-A74F-41F2-A293-C60DAE8CA969}"/>
          </ac:grpSpMkLst>
        </pc:grpChg>
        <pc:grpChg chg="add del mod">
          <ac:chgData name="Andrew Sharp" userId="53f178df-da21-4936-8a93-86de9258956d" providerId="ADAL" clId="{0C248C7E-5B4F-4D11-9379-C3CCEE5B67A0}" dt="2018-10-24T18:16:17.592" v="11427" actId="478"/>
          <ac:grpSpMkLst>
            <pc:docMk/>
            <pc:sldMk cId="3853767030" sldId="608"/>
            <ac:grpSpMk id="70" creationId="{1247F395-0214-4996-A5D1-4745414331DC}"/>
          </ac:grpSpMkLst>
        </pc:grpChg>
        <pc:grpChg chg="add mod">
          <ac:chgData name="Andrew Sharp" userId="53f178df-da21-4936-8a93-86de9258956d" providerId="ADAL" clId="{0C248C7E-5B4F-4D11-9379-C3CCEE5B67A0}" dt="2018-10-24T18:20:58.107" v="11545" actId="1038"/>
          <ac:grpSpMkLst>
            <pc:docMk/>
            <pc:sldMk cId="3853767030" sldId="608"/>
            <ac:grpSpMk id="73" creationId="{2B22CCDC-0F4B-4810-BCEF-88CDC8A1AB4B}"/>
          </ac:grpSpMkLst>
        </pc:grpChg>
        <pc:picChg chg="add del mod modCrop">
          <ac:chgData name="Andrew Sharp" userId="53f178df-da21-4936-8a93-86de9258956d" providerId="ADAL" clId="{0C248C7E-5B4F-4D11-9379-C3CCEE5B67A0}" dt="2018-10-22T14:28:56.257" v="9212" actId="478"/>
          <ac:picMkLst>
            <pc:docMk/>
            <pc:sldMk cId="3853767030" sldId="608"/>
            <ac:picMk id="55" creationId="{18DA6112-565F-426F-8C79-2537C180F401}"/>
          </ac:picMkLst>
        </pc:picChg>
        <pc:picChg chg="add mod">
          <ac:chgData name="Andrew Sharp" userId="53f178df-da21-4936-8a93-86de9258956d" providerId="ADAL" clId="{0C248C7E-5B4F-4D11-9379-C3CCEE5B67A0}" dt="2018-10-24T18:20:58.107" v="11545" actId="1038"/>
          <ac:picMkLst>
            <pc:docMk/>
            <pc:sldMk cId="3853767030" sldId="608"/>
            <ac:picMk id="56" creationId="{FEDE3531-1DE8-4040-B330-968DADFFBB58}"/>
          </ac:picMkLst>
        </pc:picChg>
        <pc:cxnChg chg="mod">
          <ac:chgData name="Andrew Sharp" userId="53f178df-da21-4936-8a93-86de9258956d" providerId="ADAL" clId="{0C248C7E-5B4F-4D11-9379-C3CCEE5B67A0}" dt="2018-10-24T18:13:10.999" v="11106" actId="478"/>
          <ac:cxnSpMkLst>
            <pc:docMk/>
            <pc:sldMk cId="3853767030" sldId="608"/>
            <ac:cxnSpMk id="58" creationId="{4B9AD41C-94E9-4388-8217-75EEA114331E}"/>
          </ac:cxnSpMkLst>
        </pc:cxnChg>
        <pc:cxnChg chg="mod">
          <ac:chgData name="Andrew Sharp" userId="53f178df-da21-4936-8a93-86de9258956d" providerId="ADAL" clId="{0C248C7E-5B4F-4D11-9379-C3CCEE5B67A0}" dt="2018-10-24T18:13:10.999" v="11106" actId="478"/>
          <ac:cxnSpMkLst>
            <pc:docMk/>
            <pc:sldMk cId="3853767030" sldId="608"/>
            <ac:cxnSpMk id="61" creationId="{71808EDD-839B-4F7C-9F0A-EE58C0646165}"/>
          </ac:cxnSpMkLst>
        </pc:cxnChg>
        <pc:cxnChg chg="mod">
          <ac:chgData name="Andrew Sharp" userId="53f178df-da21-4936-8a93-86de9258956d" providerId="ADAL" clId="{0C248C7E-5B4F-4D11-9379-C3CCEE5B67A0}" dt="2018-10-24T18:13:33.139" v="11115" actId="14100"/>
          <ac:cxnSpMkLst>
            <pc:docMk/>
            <pc:sldMk cId="3853767030" sldId="608"/>
            <ac:cxnSpMk id="66" creationId="{2E729E10-FFD8-497C-8EC0-E3A4A0E6D21C}"/>
          </ac:cxnSpMkLst>
        </pc:cxnChg>
        <pc:cxnChg chg="del mod topLvl">
          <ac:chgData name="Andrew Sharp" userId="53f178df-da21-4936-8a93-86de9258956d" providerId="ADAL" clId="{0C248C7E-5B4F-4D11-9379-C3CCEE5B67A0}" dt="2018-10-24T18:17:28.192" v="11436" actId="478"/>
          <ac:cxnSpMkLst>
            <pc:docMk/>
            <pc:sldMk cId="3853767030" sldId="608"/>
            <ac:cxnSpMk id="69" creationId="{559F2A0D-62B6-4482-8FED-BED69FED60F6}"/>
          </ac:cxnSpMkLst>
        </pc:cxnChg>
        <pc:cxnChg chg="del mod topLvl">
          <ac:chgData name="Andrew Sharp" userId="53f178df-da21-4936-8a93-86de9258956d" providerId="ADAL" clId="{0C248C7E-5B4F-4D11-9379-C3CCEE5B67A0}" dt="2018-10-24T18:16:17.592" v="11427" actId="478"/>
          <ac:cxnSpMkLst>
            <pc:docMk/>
            <pc:sldMk cId="3853767030" sldId="608"/>
            <ac:cxnSpMk id="72" creationId="{26E65648-3FB4-434D-9A77-FECD3651BE92}"/>
          </ac:cxnSpMkLst>
        </pc:cxnChg>
        <pc:cxnChg chg="mod">
          <ac:chgData name="Andrew Sharp" userId="53f178df-da21-4936-8a93-86de9258956d" providerId="ADAL" clId="{0C248C7E-5B4F-4D11-9379-C3CCEE5B67A0}" dt="2018-10-24T18:19:25.064" v="11514" actId="14100"/>
          <ac:cxnSpMkLst>
            <pc:docMk/>
            <pc:sldMk cId="3853767030" sldId="608"/>
            <ac:cxnSpMk id="75" creationId="{583E94B8-19EF-47CC-A4BB-DC60BE3E0169}"/>
          </ac:cxnSpMkLst>
        </pc:cxnChg>
      </pc:sldChg>
      <pc:sldChg chg="addSp delSp modSp add">
        <pc:chgData name="Andrew Sharp" userId="53f178df-da21-4936-8a93-86de9258956d" providerId="ADAL" clId="{0C248C7E-5B4F-4D11-9379-C3CCEE5B67A0}" dt="2018-11-12T18:05:53.836" v="42042" actId="20577"/>
        <pc:sldMkLst>
          <pc:docMk/>
          <pc:sldMk cId="3519155583" sldId="609"/>
        </pc:sldMkLst>
        <pc:spChg chg="mod">
          <ac:chgData name="Andrew Sharp" userId="53f178df-da21-4936-8a93-86de9258956d" providerId="ADAL" clId="{0C248C7E-5B4F-4D11-9379-C3CCEE5B67A0}" dt="2018-10-25T14:13:39.252" v="20262" actId="20577"/>
          <ac:spMkLst>
            <pc:docMk/>
            <pc:sldMk cId="3519155583" sldId="609"/>
            <ac:spMk id="2" creationId="{5AD2A103-159F-41A0-98B9-AB6204AA3968}"/>
          </ac:spMkLst>
        </pc:spChg>
        <pc:spChg chg="mod">
          <ac:chgData name="Andrew Sharp" userId="53f178df-da21-4936-8a93-86de9258956d" providerId="ADAL" clId="{0C248C7E-5B4F-4D11-9379-C3CCEE5B67A0}" dt="2018-10-24T18:22:31.661" v="11645" actId="20577"/>
          <ac:spMkLst>
            <pc:docMk/>
            <pc:sldMk cId="3519155583" sldId="609"/>
            <ac:spMk id="3" creationId="{368E2A26-7A4A-4379-9B40-AA95AFC51C2D}"/>
          </ac:spMkLst>
        </pc:spChg>
        <pc:spChg chg="mod">
          <ac:chgData name="Andrew Sharp" userId="53f178df-da21-4936-8a93-86de9258956d" providerId="ADAL" clId="{0C248C7E-5B4F-4D11-9379-C3CCEE5B67A0}" dt="2018-11-12T18:05:53.836" v="42042" actId="20577"/>
          <ac:spMkLst>
            <pc:docMk/>
            <pc:sldMk cId="3519155583" sldId="609"/>
            <ac:spMk id="4" creationId="{095FF39C-10F8-4B4F-B1ED-169254F8CF51}"/>
          </ac:spMkLst>
        </pc:spChg>
        <pc:spChg chg="mod">
          <ac:chgData name="Andrew Sharp" userId="53f178df-da21-4936-8a93-86de9258956d" providerId="ADAL" clId="{0C248C7E-5B4F-4D11-9379-C3CCEE5B67A0}" dt="2018-10-24T17:25:51.428" v="10230" actId="14100"/>
          <ac:spMkLst>
            <pc:docMk/>
            <pc:sldMk cId="3519155583" sldId="609"/>
            <ac:spMk id="8" creationId="{B13C4930-1454-4907-8156-FD0F243C45FF}"/>
          </ac:spMkLst>
        </pc:spChg>
        <pc:spChg chg="mod">
          <ac:chgData name="Andrew Sharp" userId="53f178df-da21-4936-8a93-86de9258956d" providerId="ADAL" clId="{0C248C7E-5B4F-4D11-9379-C3CCEE5B67A0}" dt="2018-10-24T16:54:53.998" v="9849" actId="14100"/>
          <ac:spMkLst>
            <pc:docMk/>
            <pc:sldMk cId="3519155583" sldId="609"/>
            <ac:spMk id="11" creationId="{FE74593E-0620-429B-886D-A0C66CB15753}"/>
          </ac:spMkLst>
        </pc:spChg>
        <pc:spChg chg="mod">
          <ac:chgData name="Andrew Sharp" userId="53f178df-da21-4936-8a93-86de9258956d" providerId="ADAL" clId="{0C248C7E-5B4F-4D11-9379-C3CCEE5B67A0}" dt="2018-10-24T17:00:47.086" v="9895" actId="20577"/>
          <ac:spMkLst>
            <pc:docMk/>
            <pc:sldMk cId="3519155583" sldId="609"/>
            <ac:spMk id="14" creationId="{6B639440-960E-493F-8371-B9188D7DCB51}"/>
          </ac:spMkLst>
        </pc:spChg>
        <pc:spChg chg="mod">
          <ac:chgData name="Andrew Sharp" userId="53f178df-da21-4936-8a93-86de9258956d" providerId="ADAL" clId="{0C248C7E-5B4F-4D11-9379-C3CCEE5B67A0}" dt="2018-10-24T15:54:07.222" v="9792" actId="20577"/>
          <ac:spMkLst>
            <pc:docMk/>
            <pc:sldMk cId="3519155583" sldId="609"/>
            <ac:spMk id="23" creationId="{F35BE578-1C2F-443F-BC3D-2883844A7890}"/>
          </ac:spMkLst>
        </pc:spChg>
        <pc:spChg chg="mod">
          <ac:chgData name="Andrew Sharp" userId="53f178df-da21-4936-8a93-86de9258956d" providerId="ADAL" clId="{0C248C7E-5B4F-4D11-9379-C3CCEE5B67A0}" dt="2018-10-24T17:22:39.635" v="9998" actId="20577"/>
          <ac:spMkLst>
            <pc:docMk/>
            <pc:sldMk cId="3519155583" sldId="609"/>
            <ac:spMk id="32" creationId="{5579D35A-C5CF-42CA-AE56-B28FAEA12980}"/>
          </ac:spMkLst>
        </pc:spChg>
        <pc:spChg chg="mod">
          <ac:chgData name="Andrew Sharp" userId="53f178df-da21-4936-8a93-86de9258956d" providerId="ADAL" clId="{0C248C7E-5B4F-4D11-9379-C3CCEE5B67A0}" dt="2018-10-24T17:28:50.353" v="10412" actId="1076"/>
          <ac:spMkLst>
            <pc:docMk/>
            <pc:sldMk cId="3519155583" sldId="609"/>
            <ac:spMk id="52" creationId="{BEC97A1C-D6D4-4334-A401-58B9E2FC96DF}"/>
          </ac:spMkLst>
        </pc:spChg>
        <pc:spChg chg="mod">
          <ac:chgData name="Andrew Sharp" userId="53f178df-da21-4936-8a93-86de9258956d" providerId="ADAL" clId="{0C248C7E-5B4F-4D11-9379-C3CCEE5B67A0}" dt="2018-10-24T17:29:29.103" v="10485" actId="20577"/>
          <ac:spMkLst>
            <pc:docMk/>
            <pc:sldMk cId="3519155583" sldId="609"/>
            <ac:spMk id="60" creationId="{28E7ED8C-7467-49CE-B749-4F1ADBE7D28F}"/>
          </ac:spMkLst>
        </pc:spChg>
        <pc:spChg chg="add mod">
          <ac:chgData name="Andrew Sharp" userId="53f178df-da21-4936-8a93-86de9258956d" providerId="ADAL" clId="{0C248C7E-5B4F-4D11-9379-C3CCEE5B67A0}" dt="2018-10-24T17:37:41.403" v="11027" actId="14100"/>
          <ac:spMkLst>
            <pc:docMk/>
            <pc:sldMk cId="3519155583" sldId="609"/>
            <ac:spMk id="68" creationId="{87DA384A-0C46-492A-9FEC-713EE4B7CC06}"/>
          </ac:spMkLst>
        </pc:spChg>
        <pc:spChg chg="add">
          <ac:chgData name="Andrew Sharp" userId="53f178df-da21-4936-8a93-86de9258956d" providerId="ADAL" clId="{0C248C7E-5B4F-4D11-9379-C3CCEE5B67A0}" dt="2018-10-24T17:32:56.768" v="10927"/>
          <ac:spMkLst>
            <pc:docMk/>
            <pc:sldMk cId="3519155583" sldId="609"/>
            <ac:spMk id="69" creationId="{B72997D0-8EBA-42BD-AF37-07644F504297}"/>
          </ac:spMkLst>
        </pc:spChg>
        <pc:grpChg chg="add mod">
          <ac:chgData name="Andrew Sharp" userId="53f178df-da21-4936-8a93-86de9258956d" providerId="ADAL" clId="{0C248C7E-5B4F-4D11-9379-C3CCEE5B67A0}" dt="2018-10-24T17:28:30.925" v="10406" actId="1076"/>
          <ac:grpSpMkLst>
            <pc:docMk/>
            <pc:sldMk cId="3519155583" sldId="609"/>
            <ac:grpSpMk id="6" creationId="{36B193F3-122C-4FAD-810E-45FC6303FBCE}"/>
          </ac:grpSpMkLst>
        </pc:grpChg>
        <pc:grpChg chg="add mod topLvl">
          <ac:chgData name="Andrew Sharp" userId="53f178df-da21-4936-8a93-86de9258956d" providerId="ADAL" clId="{0C248C7E-5B4F-4D11-9379-C3CCEE5B67A0}" dt="2018-10-24T17:23:00.276" v="10003" actId="1076"/>
          <ac:grpSpMkLst>
            <pc:docMk/>
            <pc:sldMk cId="3519155583" sldId="609"/>
            <ac:grpSpMk id="9" creationId="{ACC3FFD5-0FD0-4936-B6C9-A23957BABD16}"/>
          </ac:grpSpMkLst>
        </pc:grpChg>
        <pc:grpChg chg="add mod topLvl">
          <ac:chgData name="Andrew Sharp" userId="53f178df-da21-4936-8a93-86de9258956d" providerId="ADAL" clId="{0C248C7E-5B4F-4D11-9379-C3CCEE5B67A0}" dt="2018-10-24T17:23:00.276" v="10003" actId="1076"/>
          <ac:grpSpMkLst>
            <pc:docMk/>
            <pc:sldMk cId="3519155583" sldId="609"/>
            <ac:grpSpMk id="12" creationId="{C5BA0983-AB94-44C8-A97E-68B2EF6AB509}"/>
          </ac:grpSpMkLst>
        </pc:grpChg>
        <pc:grpChg chg="add del mod">
          <ac:chgData name="Andrew Sharp" userId="53f178df-da21-4936-8a93-86de9258956d" providerId="ADAL" clId="{0C248C7E-5B4F-4D11-9379-C3CCEE5B67A0}" dt="2018-10-24T15:53:06.943" v="9693" actId="165"/>
          <ac:grpSpMkLst>
            <pc:docMk/>
            <pc:sldMk cId="3519155583" sldId="609"/>
            <ac:grpSpMk id="20" creationId="{A5C9F950-FA74-4651-B884-B14831F80DDD}"/>
          </ac:grpSpMkLst>
        </pc:grpChg>
        <pc:grpChg chg="add mod">
          <ac:chgData name="Andrew Sharp" userId="53f178df-da21-4936-8a93-86de9258956d" providerId="ADAL" clId="{0C248C7E-5B4F-4D11-9379-C3CCEE5B67A0}" dt="2018-10-24T17:23:00.276" v="10003" actId="1076"/>
          <ac:grpSpMkLst>
            <pc:docMk/>
            <pc:sldMk cId="3519155583" sldId="609"/>
            <ac:grpSpMk id="21" creationId="{1EAEBD86-C9A5-40E2-BEEE-3B0E0FE19E6F}"/>
          </ac:grpSpMkLst>
        </pc:grpChg>
        <pc:grpChg chg="add mod">
          <ac:chgData name="Andrew Sharp" userId="53f178df-da21-4936-8a93-86de9258956d" providerId="ADAL" clId="{0C248C7E-5B4F-4D11-9379-C3CCEE5B67A0}" dt="2018-10-24T17:23:00.276" v="10003" actId="1076"/>
          <ac:grpSpMkLst>
            <pc:docMk/>
            <pc:sldMk cId="3519155583" sldId="609"/>
            <ac:grpSpMk id="30" creationId="{9410E96A-1A20-4DA2-98D2-0679EBB5763F}"/>
          </ac:grpSpMkLst>
        </pc:grpChg>
        <pc:grpChg chg="add mod">
          <ac:chgData name="Andrew Sharp" userId="53f178df-da21-4936-8a93-86de9258956d" providerId="ADAL" clId="{0C248C7E-5B4F-4D11-9379-C3CCEE5B67A0}" dt="2018-10-24T17:28:54.006" v="10413" actId="1076"/>
          <ac:grpSpMkLst>
            <pc:docMk/>
            <pc:sldMk cId="3519155583" sldId="609"/>
            <ac:grpSpMk id="50" creationId="{029AC216-A98A-48CD-9089-BB0FFDA292E3}"/>
          </ac:grpSpMkLst>
        </pc:grpChg>
        <pc:grpChg chg="add mod">
          <ac:chgData name="Andrew Sharp" userId="53f178df-da21-4936-8a93-86de9258956d" providerId="ADAL" clId="{0C248C7E-5B4F-4D11-9379-C3CCEE5B67A0}" dt="2018-10-24T17:29:36.892" v="10486" actId="1076"/>
          <ac:grpSpMkLst>
            <pc:docMk/>
            <pc:sldMk cId="3519155583" sldId="609"/>
            <ac:grpSpMk id="58" creationId="{6D0BF423-15F2-480C-BD99-32D980D57BDF}"/>
          </ac:grpSpMkLst>
        </pc:grpChg>
        <pc:grpChg chg="add mod">
          <ac:chgData name="Andrew Sharp" userId="53f178df-da21-4936-8a93-86de9258956d" providerId="ADAL" clId="{0C248C7E-5B4F-4D11-9379-C3CCEE5B67A0}" dt="2018-10-24T17:36:33.471" v="10990" actId="1076"/>
          <ac:grpSpMkLst>
            <pc:docMk/>
            <pc:sldMk cId="3519155583" sldId="609"/>
            <ac:grpSpMk id="71" creationId="{3E4F0DCF-1E10-44EB-A29C-4C0C51669199}"/>
          </ac:grpSpMkLst>
        </pc:grpChg>
        <pc:picChg chg="add mod modCrop">
          <ac:chgData name="Andrew Sharp" userId="53f178df-da21-4936-8a93-86de9258956d" providerId="ADAL" clId="{0C248C7E-5B4F-4D11-9379-C3CCEE5B67A0}" dt="2018-10-24T17:36:38.314" v="11003" actId="1038"/>
          <ac:picMkLst>
            <pc:docMk/>
            <pc:sldMk cId="3519155583" sldId="609"/>
            <ac:picMk id="5" creationId="{F068FC18-C911-454F-8F52-62CA386C8D88}"/>
          </ac:picMkLst>
        </pc:picChg>
        <pc:picChg chg="add mod">
          <ac:chgData name="Andrew Sharp" userId="53f178df-da21-4936-8a93-86de9258956d" providerId="ADAL" clId="{0C248C7E-5B4F-4D11-9379-C3CCEE5B67A0}" dt="2018-10-24T17:37:44.485" v="11028" actId="1076"/>
          <ac:picMkLst>
            <pc:docMk/>
            <pc:sldMk cId="3519155583" sldId="609"/>
            <ac:picMk id="70" creationId="{42EBA42F-DFB4-4426-A7B4-203D73F8FFFE}"/>
          </ac:picMkLst>
        </pc:picChg>
        <pc:cxnChg chg="mod">
          <ac:chgData name="Andrew Sharp" userId="53f178df-da21-4936-8a93-86de9258956d" providerId="ADAL" clId="{0C248C7E-5B4F-4D11-9379-C3CCEE5B67A0}" dt="2018-10-24T17:28:34.549" v="10407" actId="14100"/>
          <ac:cxnSpMkLst>
            <pc:docMk/>
            <pc:sldMk cId="3519155583" sldId="609"/>
            <ac:cxnSpMk id="7" creationId="{4EEF92C7-A0BB-4843-BA35-4EC37E217C58}"/>
          </ac:cxnSpMkLst>
        </pc:cxnChg>
        <pc:cxnChg chg="mod">
          <ac:chgData name="Andrew Sharp" userId="53f178df-da21-4936-8a93-86de9258956d" providerId="ADAL" clId="{0C248C7E-5B4F-4D11-9379-C3CCEE5B67A0}" dt="2018-10-24T17:01:10.009" v="9898" actId="14100"/>
          <ac:cxnSpMkLst>
            <pc:docMk/>
            <pc:sldMk cId="3519155583" sldId="609"/>
            <ac:cxnSpMk id="10" creationId="{DFB79EE6-233D-4274-B5E9-F3F71F1CE62F}"/>
          </ac:cxnSpMkLst>
        </pc:cxnChg>
        <pc:cxnChg chg="mod">
          <ac:chgData name="Andrew Sharp" userId="53f178df-da21-4936-8a93-86de9258956d" providerId="ADAL" clId="{0C248C7E-5B4F-4D11-9379-C3CCEE5B67A0}" dt="2018-10-24T16:56:04.278" v="9892" actId="14100"/>
          <ac:cxnSpMkLst>
            <pc:docMk/>
            <pc:sldMk cId="3519155583" sldId="609"/>
            <ac:cxnSpMk id="13" creationId="{F64E907D-9B5F-4A07-BB74-EDEC408863FB}"/>
          </ac:cxnSpMkLst>
        </pc:cxnChg>
        <pc:cxnChg chg="mod">
          <ac:chgData name="Andrew Sharp" userId="53f178df-da21-4936-8a93-86de9258956d" providerId="ADAL" clId="{0C248C7E-5B4F-4D11-9379-C3CCEE5B67A0}" dt="2018-10-24T17:23:08.259" v="10004" actId="14100"/>
          <ac:cxnSpMkLst>
            <pc:docMk/>
            <pc:sldMk cId="3519155583" sldId="609"/>
            <ac:cxnSpMk id="22" creationId="{17023859-1AC6-4E70-A25F-CC2DB8517267}"/>
          </ac:cxnSpMkLst>
        </pc:cxnChg>
        <pc:cxnChg chg="mod">
          <ac:chgData name="Andrew Sharp" userId="53f178df-da21-4936-8a93-86de9258956d" providerId="ADAL" clId="{0C248C7E-5B4F-4D11-9379-C3CCEE5B67A0}" dt="2018-10-24T17:22:37.145" v="9997" actId="14100"/>
          <ac:cxnSpMkLst>
            <pc:docMk/>
            <pc:sldMk cId="3519155583" sldId="609"/>
            <ac:cxnSpMk id="31" creationId="{07CCB7B2-8C3B-4E6F-AD9E-A578BB771250}"/>
          </ac:cxnSpMkLst>
        </pc:cxnChg>
        <pc:cxnChg chg="mod">
          <ac:chgData name="Andrew Sharp" userId="53f178df-da21-4936-8a93-86de9258956d" providerId="ADAL" clId="{0C248C7E-5B4F-4D11-9379-C3CCEE5B67A0}" dt="2018-10-24T17:28:57.358" v="10414" actId="14100"/>
          <ac:cxnSpMkLst>
            <pc:docMk/>
            <pc:sldMk cId="3519155583" sldId="609"/>
            <ac:cxnSpMk id="51" creationId="{18959EFA-6AB4-434A-BB17-9DCAF1FAE432}"/>
          </ac:cxnSpMkLst>
        </pc:cxnChg>
        <pc:cxnChg chg="mod">
          <ac:chgData name="Andrew Sharp" userId="53f178df-da21-4936-8a93-86de9258956d" providerId="ADAL" clId="{0C248C7E-5B4F-4D11-9379-C3CCEE5B67A0}" dt="2018-10-24T17:29:40.324" v="10487" actId="14100"/>
          <ac:cxnSpMkLst>
            <pc:docMk/>
            <pc:sldMk cId="3519155583" sldId="609"/>
            <ac:cxnSpMk id="59" creationId="{0EC959B1-BBCF-4386-A60B-B6B3826C8EEC}"/>
          </ac:cxnSpMkLst>
        </pc:cxnChg>
      </pc:sldChg>
      <pc:sldChg chg="addSp delSp modSp add">
        <pc:chgData name="Andrew Sharp" userId="53f178df-da21-4936-8a93-86de9258956d" providerId="ADAL" clId="{0C248C7E-5B4F-4D11-9379-C3CCEE5B67A0}" dt="2018-10-25T13:25:41.243" v="19667" actId="14100"/>
        <pc:sldMkLst>
          <pc:docMk/>
          <pc:sldMk cId="2634726210" sldId="610"/>
        </pc:sldMkLst>
        <pc:spChg chg="mod">
          <ac:chgData name="Andrew Sharp" userId="53f178df-da21-4936-8a93-86de9258956d" providerId="ADAL" clId="{0C248C7E-5B4F-4D11-9379-C3CCEE5B67A0}" dt="2018-10-25T13:25:41.243" v="19667" actId="14100"/>
          <ac:spMkLst>
            <pc:docMk/>
            <pc:sldMk cId="2634726210" sldId="610"/>
            <ac:spMk id="2" creationId="{BCABE8B1-EE64-42A0-9CB6-D6146677F85C}"/>
          </ac:spMkLst>
        </pc:spChg>
        <pc:spChg chg="mod">
          <ac:chgData name="Andrew Sharp" userId="53f178df-da21-4936-8a93-86de9258956d" providerId="ADAL" clId="{0C248C7E-5B4F-4D11-9379-C3CCEE5B67A0}" dt="2018-10-25T13:22:16.101" v="19254" actId="20577"/>
          <ac:spMkLst>
            <pc:docMk/>
            <pc:sldMk cId="2634726210" sldId="610"/>
            <ac:spMk id="3" creationId="{BAFE6521-5816-41BA-B793-684BBFCE2A65}"/>
          </ac:spMkLst>
        </pc:spChg>
        <pc:spChg chg="mod">
          <ac:chgData name="Andrew Sharp" userId="53f178df-da21-4936-8a93-86de9258956d" providerId="ADAL" clId="{0C248C7E-5B4F-4D11-9379-C3CCEE5B67A0}" dt="2018-10-25T13:03:12.178" v="18481" actId="20577"/>
          <ac:spMkLst>
            <pc:docMk/>
            <pc:sldMk cId="2634726210" sldId="610"/>
            <ac:spMk id="7" creationId="{B4C6E395-47E0-4279-87EB-4BFAB62322A3}"/>
          </ac:spMkLst>
        </pc:spChg>
        <pc:spChg chg="mod">
          <ac:chgData name="Andrew Sharp" userId="53f178df-da21-4936-8a93-86de9258956d" providerId="ADAL" clId="{0C248C7E-5B4F-4D11-9379-C3CCEE5B67A0}" dt="2018-10-25T12:56:25.224" v="18116" actId="14100"/>
          <ac:spMkLst>
            <pc:docMk/>
            <pc:sldMk cId="2634726210" sldId="610"/>
            <ac:spMk id="20" creationId="{24DAECD5-73EA-4FEB-8D85-527D5124ED77}"/>
          </ac:spMkLst>
        </pc:spChg>
        <pc:spChg chg="add mod">
          <ac:chgData name="Andrew Sharp" userId="53f178df-da21-4936-8a93-86de9258956d" providerId="ADAL" clId="{0C248C7E-5B4F-4D11-9379-C3CCEE5B67A0}" dt="2018-10-25T13:08:39.499" v="18873" actId="20577"/>
          <ac:spMkLst>
            <pc:docMk/>
            <pc:sldMk cId="2634726210" sldId="610"/>
            <ac:spMk id="37" creationId="{64EB5B98-EE27-49C0-A884-4D616EF89448}"/>
          </ac:spMkLst>
        </pc:spChg>
        <pc:spChg chg="add mod">
          <ac:chgData name="Andrew Sharp" userId="53f178df-da21-4936-8a93-86de9258956d" providerId="ADAL" clId="{0C248C7E-5B4F-4D11-9379-C3CCEE5B67A0}" dt="2018-10-25T13:04:48.440" v="18585" actId="1076"/>
          <ac:spMkLst>
            <pc:docMk/>
            <pc:sldMk cId="2634726210" sldId="610"/>
            <ac:spMk id="38" creationId="{F4175A27-6858-4676-9413-250CA2E221C9}"/>
          </ac:spMkLst>
        </pc:spChg>
        <pc:spChg chg="add mod">
          <ac:chgData name="Andrew Sharp" userId="53f178df-da21-4936-8a93-86de9258956d" providerId="ADAL" clId="{0C248C7E-5B4F-4D11-9379-C3CCEE5B67A0}" dt="2018-10-25T13:08:56.995" v="18877" actId="403"/>
          <ac:spMkLst>
            <pc:docMk/>
            <pc:sldMk cId="2634726210" sldId="610"/>
            <ac:spMk id="48" creationId="{005681A1-303C-42F1-828A-DE8072484F60}"/>
          </ac:spMkLst>
        </pc:spChg>
        <pc:spChg chg="add">
          <ac:chgData name="Andrew Sharp" userId="53f178df-da21-4936-8a93-86de9258956d" providerId="ADAL" clId="{0C248C7E-5B4F-4D11-9379-C3CCEE5B67A0}" dt="2018-10-25T13:06:12.098" v="18774"/>
          <ac:spMkLst>
            <pc:docMk/>
            <pc:sldMk cId="2634726210" sldId="610"/>
            <ac:spMk id="50" creationId="{9E5895F7-BA45-4569-AD09-0D048AE13595}"/>
          </ac:spMkLst>
        </pc:spChg>
        <pc:grpChg chg="add mod">
          <ac:chgData name="Andrew Sharp" userId="53f178df-da21-4936-8a93-86de9258956d" providerId="ADAL" clId="{0C248C7E-5B4F-4D11-9379-C3CCEE5B67A0}" dt="2018-10-25T12:56:02.643" v="18114" actId="164"/>
          <ac:grpSpMkLst>
            <pc:docMk/>
            <pc:sldMk cId="2634726210" sldId="610"/>
            <ac:grpSpMk id="6" creationId="{00022AF8-6E75-406A-948A-AE2B11E83786}"/>
          </ac:grpSpMkLst>
        </pc:grpChg>
        <pc:grpChg chg="add mod">
          <ac:chgData name="Andrew Sharp" userId="53f178df-da21-4936-8a93-86de9258956d" providerId="ADAL" clId="{0C248C7E-5B4F-4D11-9379-C3CCEE5B67A0}" dt="2018-10-25T12:56:29.489" v="18117" actId="1076"/>
          <ac:grpSpMkLst>
            <pc:docMk/>
            <pc:sldMk cId="2634726210" sldId="610"/>
            <ac:grpSpMk id="19" creationId="{4C2DF047-CCFB-464B-B7F7-EBD1B012279A}"/>
          </ac:grpSpMkLst>
        </pc:grpChg>
        <pc:grpChg chg="add mod">
          <ac:chgData name="Andrew Sharp" userId="53f178df-da21-4936-8a93-86de9258956d" providerId="ADAL" clId="{0C248C7E-5B4F-4D11-9379-C3CCEE5B67A0}" dt="2018-10-25T12:56:02.643" v="18114" actId="164"/>
          <ac:grpSpMkLst>
            <pc:docMk/>
            <pc:sldMk cId="2634726210" sldId="610"/>
            <ac:grpSpMk id="33" creationId="{B8D708C7-280A-4A89-AA49-02C1561F8826}"/>
          </ac:grpSpMkLst>
        </pc:grpChg>
        <pc:picChg chg="add mod">
          <ac:chgData name="Andrew Sharp" userId="53f178df-da21-4936-8a93-86de9258956d" providerId="ADAL" clId="{0C248C7E-5B4F-4D11-9379-C3CCEE5B67A0}" dt="2018-10-25T12:50:46.798" v="17683" actId="208"/>
          <ac:picMkLst>
            <pc:docMk/>
            <pc:sldMk cId="2634726210" sldId="610"/>
            <ac:picMk id="5" creationId="{B2C85320-D012-4E51-9F50-1F9C193D9C57}"/>
          </ac:picMkLst>
        </pc:picChg>
        <pc:cxnChg chg="mod">
          <ac:chgData name="Andrew Sharp" userId="53f178df-da21-4936-8a93-86de9258956d" providerId="ADAL" clId="{0C248C7E-5B4F-4D11-9379-C3CCEE5B67A0}" dt="2018-10-25T13:03:12.034" v="18480" actId="20577"/>
          <ac:cxnSpMkLst>
            <pc:docMk/>
            <pc:sldMk cId="2634726210" sldId="610"/>
            <ac:cxnSpMk id="8" creationId="{9226491F-9433-437D-A483-E55E8230D646}"/>
          </ac:cxnSpMkLst>
        </pc:cxnChg>
        <pc:cxnChg chg="add mod">
          <ac:chgData name="Andrew Sharp" userId="53f178df-da21-4936-8a93-86de9258956d" providerId="ADAL" clId="{0C248C7E-5B4F-4D11-9379-C3CCEE5B67A0}" dt="2018-10-25T13:03:00.799" v="18441" actId="14100"/>
          <ac:cxnSpMkLst>
            <pc:docMk/>
            <pc:sldMk cId="2634726210" sldId="610"/>
            <ac:cxnSpMk id="12" creationId="{E7DC2200-6433-4BD4-A2E4-F0CF9777B0A3}"/>
          </ac:cxnSpMkLst>
        </pc:cxnChg>
        <pc:cxnChg chg="add mod">
          <ac:chgData name="Andrew Sharp" userId="53f178df-da21-4936-8a93-86de9258956d" providerId="ADAL" clId="{0C248C7E-5B4F-4D11-9379-C3CCEE5B67A0}" dt="2018-10-25T13:03:00.799" v="18441" actId="14100"/>
          <ac:cxnSpMkLst>
            <pc:docMk/>
            <pc:sldMk cId="2634726210" sldId="610"/>
            <ac:cxnSpMk id="13" creationId="{B725AEC5-FC3F-4EEC-BC61-23B59BB0D76C}"/>
          </ac:cxnSpMkLst>
        </pc:cxnChg>
        <pc:cxnChg chg="add del">
          <ac:chgData name="Andrew Sharp" userId="53f178df-da21-4936-8a93-86de9258956d" providerId="ADAL" clId="{0C248C7E-5B4F-4D11-9379-C3CCEE5B67A0}" dt="2018-10-25T12:52:55.471" v="17862" actId="478"/>
          <ac:cxnSpMkLst>
            <pc:docMk/>
            <pc:sldMk cId="2634726210" sldId="610"/>
            <ac:cxnSpMk id="18" creationId="{03D2810F-3C51-4565-B6D3-AA898FD951E0}"/>
          </ac:cxnSpMkLst>
        </pc:cxnChg>
        <pc:cxnChg chg="mod">
          <ac:chgData name="Andrew Sharp" userId="53f178df-da21-4936-8a93-86de9258956d" providerId="ADAL" clId="{0C248C7E-5B4F-4D11-9379-C3CCEE5B67A0}" dt="2018-10-25T12:56:34.686" v="18118" actId="14100"/>
          <ac:cxnSpMkLst>
            <pc:docMk/>
            <pc:sldMk cId="2634726210" sldId="610"/>
            <ac:cxnSpMk id="21" creationId="{5BCFE149-1973-4935-A28E-96825B4AFD74}"/>
          </ac:cxnSpMkLst>
        </pc:cxnChg>
        <pc:cxnChg chg="add mod">
          <ac:chgData name="Andrew Sharp" userId="53f178df-da21-4936-8a93-86de9258956d" providerId="ADAL" clId="{0C248C7E-5B4F-4D11-9379-C3CCEE5B67A0}" dt="2018-10-25T13:04:48.440" v="18585" actId="1076"/>
          <ac:cxnSpMkLst>
            <pc:docMk/>
            <pc:sldMk cId="2634726210" sldId="610"/>
            <ac:cxnSpMk id="39" creationId="{15E6F7D6-D7D2-4276-A254-08CB669407CD}"/>
          </ac:cxnSpMkLst>
        </pc:cxnChg>
      </pc:sldChg>
      <pc:sldChg chg="addSp delSp modSp add ord">
        <pc:chgData name="Andrew Sharp" userId="53f178df-da21-4936-8a93-86de9258956d" providerId="ADAL" clId="{0C248C7E-5B4F-4D11-9379-C3CCEE5B67A0}" dt="2018-11-05T21:09:54.643" v="39499" actId="1037"/>
        <pc:sldMkLst>
          <pc:docMk/>
          <pc:sldMk cId="1998592581" sldId="611"/>
        </pc:sldMkLst>
        <pc:spChg chg="mod">
          <ac:chgData name="Andrew Sharp" userId="53f178df-da21-4936-8a93-86de9258956d" providerId="ADAL" clId="{0C248C7E-5B4F-4D11-9379-C3CCEE5B67A0}" dt="2018-11-03T16:43:54.037" v="29900" actId="20577"/>
          <ac:spMkLst>
            <pc:docMk/>
            <pc:sldMk cId="1998592581" sldId="611"/>
            <ac:spMk id="2" creationId="{6F6C0BC0-5256-4960-BE86-1F41D6E3985B}"/>
          </ac:spMkLst>
        </pc:spChg>
        <pc:spChg chg="del">
          <ac:chgData name="Andrew Sharp" userId="53f178df-da21-4936-8a93-86de9258956d" providerId="ADAL" clId="{0C248C7E-5B4F-4D11-9379-C3CCEE5B67A0}" dt="2018-10-25T14:19:46.868" v="20332" actId="478"/>
          <ac:spMkLst>
            <pc:docMk/>
            <pc:sldMk cId="1998592581" sldId="611"/>
            <ac:spMk id="3" creationId="{9BDC3549-51FE-45C8-BAED-FD6274894116}"/>
          </ac:spMkLst>
        </pc:spChg>
        <pc:spChg chg="add mod">
          <ac:chgData name="Andrew Sharp" userId="53f178df-da21-4936-8a93-86de9258956d" providerId="ADAL" clId="{0C248C7E-5B4F-4D11-9379-C3CCEE5B67A0}" dt="2018-10-25T14:38:21.606" v="20987" actId="113"/>
          <ac:spMkLst>
            <pc:docMk/>
            <pc:sldMk cId="1998592581" sldId="611"/>
            <ac:spMk id="4" creationId="{8C6BE51F-B03E-4768-92F1-0F53DFFD2855}"/>
          </ac:spMkLst>
        </pc:spChg>
        <pc:spChg chg="add mod">
          <ac:chgData name="Andrew Sharp" userId="53f178df-da21-4936-8a93-86de9258956d" providerId="ADAL" clId="{0C248C7E-5B4F-4D11-9379-C3CCEE5B67A0}" dt="2018-10-25T14:37:00.615" v="20972" actId="1036"/>
          <ac:spMkLst>
            <pc:docMk/>
            <pc:sldMk cId="1998592581" sldId="611"/>
            <ac:spMk id="5" creationId="{065A11A4-EF72-49FF-BDE1-8F1CF9374F93}"/>
          </ac:spMkLst>
        </pc:spChg>
        <pc:spChg chg="add mod">
          <ac:chgData name="Andrew Sharp" userId="53f178df-da21-4936-8a93-86de9258956d" providerId="ADAL" clId="{0C248C7E-5B4F-4D11-9379-C3CCEE5B67A0}" dt="2018-10-25T14:37:00.615" v="20972" actId="1036"/>
          <ac:spMkLst>
            <pc:docMk/>
            <pc:sldMk cId="1998592581" sldId="611"/>
            <ac:spMk id="20" creationId="{C92B59F2-F2A6-49E8-94EE-21A0C4DC523F}"/>
          </ac:spMkLst>
        </pc:spChg>
        <pc:spChg chg="add mod">
          <ac:chgData name="Andrew Sharp" userId="53f178df-da21-4936-8a93-86de9258956d" providerId="ADAL" clId="{0C248C7E-5B4F-4D11-9379-C3CCEE5B67A0}" dt="2018-10-25T14:38:38.980" v="20991" actId="208"/>
          <ac:spMkLst>
            <pc:docMk/>
            <pc:sldMk cId="1998592581" sldId="611"/>
            <ac:spMk id="26" creationId="{5EC8875C-3E1E-4461-8D37-C70995A0862A}"/>
          </ac:spMkLst>
        </pc:spChg>
        <pc:spChg chg="add mod">
          <ac:chgData name="Andrew Sharp" userId="53f178df-da21-4936-8a93-86de9258956d" providerId="ADAL" clId="{0C248C7E-5B4F-4D11-9379-C3CCEE5B67A0}" dt="2018-10-25T14:37:00.615" v="20972" actId="1036"/>
          <ac:spMkLst>
            <pc:docMk/>
            <pc:sldMk cId="1998592581" sldId="611"/>
            <ac:spMk id="28" creationId="{BC6CA0C1-3515-4CA9-8618-CB703046046E}"/>
          </ac:spMkLst>
        </pc:spChg>
        <pc:spChg chg="add mod">
          <ac:chgData name="Andrew Sharp" userId="53f178df-da21-4936-8a93-86de9258956d" providerId="ADAL" clId="{0C248C7E-5B4F-4D11-9379-C3CCEE5B67A0}" dt="2018-10-25T14:37:00.615" v="20972" actId="1036"/>
          <ac:spMkLst>
            <pc:docMk/>
            <pc:sldMk cId="1998592581" sldId="611"/>
            <ac:spMk id="29" creationId="{B7071D93-174B-4E45-8EA5-D0319652E019}"/>
          </ac:spMkLst>
        </pc:spChg>
        <pc:spChg chg="add mod">
          <ac:chgData name="Andrew Sharp" userId="53f178df-da21-4936-8a93-86de9258956d" providerId="ADAL" clId="{0C248C7E-5B4F-4D11-9379-C3CCEE5B67A0}" dt="2018-10-25T14:37:00.615" v="20972" actId="1036"/>
          <ac:spMkLst>
            <pc:docMk/>
            <pc:sldMk cId="1998592581" sldId="611"/>
            <ac:spMk id="30" creationId="{67EA0F5F-9BE5-4341-9DAD-9E970285AAB4}"/>
          </ac:spMkLst>
        </pc:spChg>
        <pc:spChg chg="add mod">
          <ac:chgData name="Andrew Sharp" userId="53f178df-da21-4936-8a93-86de9258956d" providerId="ADAL" clId="{0C248C7E-5B4F-4D11-9379-C3CCEE5B67A0}" dt="2018-10-25T14:37:00.615" v="20972" actId="1036"/>
          <ac:spMkLst>
            <pc:docMk/>
            <pc:sldMk cId="1998592581" sldId="611"/>
            <ac:spMk id="31" creationId="{679CC6A4-C823-421F-A9D6-6BC0D9BB0496}"/>
          </ac:spMkLst>
        </pc:spChg>
        <pc:spChg chg="add mod">
          <ac:chgData name="Andrew Sharp" userId="53f178df-da21-4936-8a93-86de9258956d" providerId="ADAL" clId="{0C248C7E-5B4F-4D11-9379-C3CCEE5B67A0}" dt="2018-10-25T14:37:07.968" v="20974" actId="14100"/>
          <ac:spMkLst>
            <pc:docMk/>
            <pc:sldMk cId="1998592581" sldId="611"/>
            <ac:spMk id="32" creationId="{70FDDF20-9ABC-447D-B51F-C1DBD91BD55A}"/>
          </ac:spMkLst>
        </pc:spChg>
        <pc:spChg chg="add mod">
          <ac:chgData name="Andrew Sharp" userId="53f178df-da21-4936-8a93-86de9258956d" providerId="ADAL" clId="{0C248C7E-5B4F-4D11-9379-C3CCEE5B67A0}" dt="2018-10-25T14:37:00.615" v="20972" actId="1036"/>
          <ac:spMkLst>
            <pc:docMk/>
            <pc:sldMk cId="1998592581" sldId="611"/>
            <ac:spMk id="33" creationId="{94F30065-AB05-4EC9-8B6A-08BBBD782294}"/>
          </ac:spMkLst>
        </pc:spChg>
        <pc:spChg chg="add mod">
          <ac:chgData name="Andrew Sharp" userId="53f178df-da21-4936-8a93-86de9258956d" providerId="ADAL" clId="{0C248C7E-5B4F-4D11-9379-C3CCEE5B67A0}" dt="2018-11-05T21:09:54.643" v="39499" actId="1037"/>
          <ac:spMkLst>
            <pc:docMk/>
            <pc:sldMk cId="1998592581" sldId="611"/>
            <ac:spMk id="34" creationId="{D4D7A76A-9019-4298-89D6-98D663D09AA9}"/>
          </ac:spMkLst>
        </pc:spChg>
        <pc:spChg chg="add mod">
          <ac:chgData name="Andrew Sharp" userId="53f178df-da21-4936-8a93-86de9258956d" providerId="ADAL" clId="{0C248C7E-5B4F-4D11-9379-C3CCEE5B67A0}" dt="2018-11-05T21:09:41.099" v="39495" actId="20577"/>
          <ac:spMkLst>
            <pc:docMk/>
            <pc:sldMk cId="1998592581" sldId="611"/>
            <ac:spMk id="35" creationId="{BD560740-6E5F-4317-8503-D7CFD35D6638}"/>
          </ac:spMkLst>
        </pc:spChg>
        <pc:spChg chg="add mod">
          <ac:chgData name="Andrew Sharp" userId="53f178df-da21-4936-8a93-86de9258956d" providerId="ADAL" clId="{0C248C7E-5B4F-4D11-9379-C3CCEE5B67A0}" dt="2018-10-25T14:37:00.615" v="20972" actId="1036"/>
          <ac:spMkLst>
            <pc:docMk/>
            <pc:sldMk cId="1998592581" sldId="611"/>
            <ac:spMk id="40" creationId="{C52B25AF-2E29-4C84-BE74-6FFA375525C2}"/>
          </ac:spMkLst>
        </pc:spChg>
        <pc:spChg chg="add mod">
          <ac:chgData name="Andrew Sharp" userId="53f178df-da21-4936-8a93-86de9258956d" providerId="ADAL" clId="{0C248C7E-5B4F-4D11-9379-C3CCEE5B67A0}" dt="2018-10-25T14:37:00.615" v="20972" actId="1036"/>
          <ac:spMkLst>
            <pc:docMk/>
            <pc:sldMk cId="1998592581" sldId="611"/>
            <ac:spMk id="41" creationId="{7E55B433-35F9-4C6F-893D-47F1127E7E21}"/>
          </ac:spMkLst>
        </pc:spChg>
        <pc:spChg chg="add mod">
          <ac:chgData name="Andrew Sharp" userId="53f178df-da21-4936-8a93-86de9258956d" providerId="ADAL" clId="{0C248C7E-5B4F-4D11-9379-C3CCEE5B67A0}" dt="2018-10-25T14:37:00.615" v="20972" actId="1036"/>
          <ac:spMkLst>
            <pc:docMk/>
            <pc:sldMk cId="1998592581" sldId="611"/>
            <ac:spMk id="42" creationId="{53886433-DB7E-4354-9E68-4374D4569390}"/>
          </ac:spMkLst>
        </pc:spChg>
        <pc:spChg chg="add mod">
          <ac:chgData name="Andrew Sharp" userId="53f178df-da21-4936-8a93-86de9258956d" providerId="ADAL" clId="{0C248C7E-5B4F-4D11-9379-C3CCEE5B67A0}" dt="2018-10-25T14:37:00.615" v="20972" actId="1036"/>
          <ac:spMkLst>
            <pc:docMk/>
            <pc:sldMk cId="1998592581" sldId="611"/>
            <ac:spMk id="43" creationId="{8498623F-6D65-4AD6-8B97-F9950340FC6B}"/>
          </ac:spMkLst>
        </pc:spChg>
        <pc:spChg chg="add mod">
          <ac:chgData name="Andrew Sharp" userId="53f178df-da21-4936-8a93-86de9258956d" providerId="ADAL" clId="{0C248C7E-5B4F-4D11-9379-C3CCEE5B67A0}" dt="2018-10-25T14:37:00.615" v="20972" actId="1036"/>
          <ac:spMkLst>
            <pc:docMk/>
            <pc:sldMk cId="1998592581" sldId="611"/>
            <ac:spMk id="44" creationId="{B04BBD21-5655-49EB-ABA3-D9CE3732AFBD}"/>
          </ac:spMkLst>
        </pc:spChg>
        <pc:spChg chg="add del mod">
          <ac:chgData name="Andrew Sharp" userId="53f178df-da21-4936-8a93-86de9258956d" providerId="ADAL" clId="{0C248C7E-5B4F-4D11-9379-C3CCEE5B67A0}" dt="2018-10-25T14:28:18.252" v="20565" actId="478"/>
          <ac:spMkLst>
            <pc:docMk/>
            <pc:sldMk cId="1998592581" sldId="611"/>
            <ac:spMk id="45" creationId="{97825E12-E9F4-48A7-9CF5-9704F2A94BB5}"/>
          </ac:spMkLst>
        </pc:spChg>
        <pc:spChg chg="add mod">
          <ac:chgData name="Andrew Sharp" userId="53f178df-da21-4936-8a93-86de9258956d" providerId="ADAL" clId="{0C248C7E-5B4F-4D11-9379-C3CCEE5B67A0}" dt="2018-10-25T14:37:00.615" v="20972" actId="1036"/>
          <ac:spMkLst>
            <pc:docMk/>
            <pc:sldMk cId="1998592581" sldId="611"/>
            <ac:spMk id="47" creationId="{9D677691-C10E-4596-BC12-6F69C14BF732}"/>
          </ac:spMkLst>
        </pc:spChg>
        <pc:spChg chg="add mod">
          <ac:chgData name="Andrew Sharp" userId="53f178df-da21-4936-8a93-86de9258956d" providerId="ADAL" clId="{0C248C7E-5B4F-4D11-9379-C3CCEE5B67A0}" dt="2018-10-25T14:37:00.615" v="20972" actId="1036"/>
          <ac:spMkLst>
            <pc:docMk/>
            <pc:sldMk cId="1998592581" sldId="611"/>
            <ac:spMk id="51" creationId="{7386C05E-A392-43E9-9977-B6A14BB541EC}"/>
          </ac:spMkLst>
        </pc:spChg>
        <pc:spChg chg="add del mod">
          <ac:chgData name="Andrew Sharp" userId="53f178df-da21-4936-8a93-86de9258956d" providerId="ADAL" clId="{0C248C7E-5B4F-4D11-9379-C3CCEE5B67A0}" dt="2018-10-25T14:32:09.013" v="20635" actId="478"/>
          <ac:spMkLst>
            <pc:docMk/>
            <pc:sldMk cId="1998592581" sldId="611"/>
            <ac:spMk id="52" creationId="{57858717-CE1B-4637-95A4-89314B0792BD}"/>
          </ac:spMkLst>
        </pc:spChg>
        <pc:grpChg chg="add del">
          <ac:chgData name="Andrew Sharp" userId="53f178df-da21-4936-8a93-86de9258956d" providerId="ADAL" clId="{0C248C7E-5B4F-4D11-9379-C3CCEE5B67A0}" dt="2018-10-25T14:22:28.197" v="20433" actId="165"/>
          <ac:grpSpMkLst>
            <pc:docMk/>
            <pc:sldMk cId="1998592581" sldId="611"/>
            <ac:grpSpMk id="6" creationId="{46316489-27BA-4557-BDE5-0D69940725D6}"/>
          </ac:grpSpMkLst>
        </pc:grpChg>
        <pc:cxnChg chg="mod topLvl">
          <ac:chgData name="Andrew Sharp" userId="53f178df-da21-4936-8a93-86de9258956d" providerId="ADAL" clId="{0C248C7E-5B4F-4D11-9379-C3CCEE5B67A0}" dt="2018-10-25T14:37:00.615" v="20972" actId="1036"/>
          <ac:cxnSpMkLst>
            <pc:docMk/>
            <pc:sldMk cId="1998592581" sldId="611"/>
            <ac:cxnSpMk id="7" creationId="{C98EAD8B-6F5B-4017-B855-8C16FD573BDC}"/>
          </ac:cxnSpMkLst>
        </pc:cxnChg>
        <pc:cxnChg chg="mod topLvl">
          <ac:chgData name="Andrew Sharp" userId="53f178df-da21-4936-8a93-86de9258956d" providerId="ADAL" clId="{0C248C7E-5B4F-4D11-9379-C3CCEE5B67A0}" dt="2018-10-25T14:37:00.615" v="20972" actId="1036"/>
          <ac:cxnSpMkLst>
            <pc:docMk/>
            <pc:sldMk cId="1998592581" sldId="611"/>
            <ac:cxnSpMk id="8" creationId="{4BBCFCBD-838B-478A-8805-A6AF3BD47F1D}"/>
          </ac:cxnSpMkLst>
        </pc:cxnChg>
        <pc:cxnChg chg="mod topLvl">
          <ac:chgData name="Andrew Sharp" userId="53f178df-da21-4936-8a93-86de9258956d" providerId="ADAL" clId="{0C248C7E-5B4F-4D11-9379-C3CCEE5B67A0}" dt="2018-10-25T14:37:00.615" v="20972" actId="1036"/>
          <ac:cxnSpMkLst>
            <pc:docMk/>
            <pc:sldMk cId="1998592581" sldId="611"/>
            <ac:cxnSpMk id="9" creationId="{A1FF346C-8052-43F3-A0BE-46CC089D567F}"/>
          </ac:cxnSpMkLst>
        </pc:cxnChg>
        <pc:cxnChg chg="mod topLvl">
          <ac:chgData name="Andrew Sharp" userId="53f178df-da21-4936-8a93-86de9258956d" providerId="ADAL" clId="{0C248C7E-5B4F-4D11-9379-C3CCEE5B67A0}" dt="2018-10-25T14:37:00.615" v="20972" actId="1036"/>
          <ac:cxnSpMkLst>
            <pc:docMk/>
            <pc:sldMk cId="1998592581" sldId="611"/>
            <ac:cxnSpMk id="10" creationId="{4DE94A1F-9281-4190-BC28-CF821CC94CC1}"/>
          </ac:cxnSpMkLst>
        </pc:cxnChg>
        <pc:cxnChg chg="mod topLvl">
          <ac:chgData name="Andrew Sharp" userId="53f178df-da21-4936-8a93-86de9258956d" providerId="ADAL" clId="{0C248C7E-5B4F-4D11-9379-C3CCEE5B67A0}" dt="2018-10-25T14:37:00.615" v="20972" actId="1036"/>
          <ac:cxnSpMkLst>
            <pc:docMk/>
            <pc:sldMk cId="1998592581" sldId="611"/>
            <ac:cxnSpMk id="11" creationId="{F8390E2E-CE67-444A-844F-1C7390573D4B}"/>
          </ac:cxnSpMkLst>
        </pc:cxnChg>
        <pc:cxnChg chg="mod topLvl">
          <ac:chgData name="Andrew Sharp" userId="53f178df-da21-4936-8a93-86de9258956d" providerId="ADAL" clId="{0C248C7E-5B4F-4D11-9379-C3CCEE5B67A0}" dt="2018-10-25T14:37:00.615" v="20972" actId="1036"/>
          <ac:cxnSpMkLst>
            <pc:docMk/>
            <pc:sldMk cId="1998592581" sldId="611"/>
            <ac:cxnSpMk id="12" creationId="{923296C3-5292-4584-A0F2-DCCD9EE824D9}"/>
          </ac:cxnSpMkLst>
        </pc:cxnChg>
        <pc:cxnChg chg="mod topLvl">
          <ac:chgData name="Andrew Sharp" userId="53f178df-da21-4936-8a93-86de9258956d" providerId="ADAL" clId="{0C248C7E-5B4F-4D11-9379-C3CCEE5B67A0}" dt="2018-10-25T14:37:00.615" v="20972" actId="1036"/>
          <ac:cxnSpMkLst>
            <pc:docMk/>
            <pc:sldMk cId="1998592581" sldId="611"/>
            <ac:cxnSpMk id="13" creationId="{6BA3FD04-B1CE-46D6-809B-C872F2A0D40F}"/>
          </ac:cxnSpMkLst>
        </pc:cxnChg>
        <pc:cxnChg chg="mod topLvl">
          <ac:chgData name="Andrew Sharp" userId="53f178df-da21-4936-8a93-86de9258956d" providerId="ADAL" clId="{0C248C7E-5B4F-4D11-9379-C3CCEE5B67A0}" dt="2018-10-25T14:37:00.615" v="20972" actId="1036"/>
          <ac:cxnSpMkLst>
            <pc:docMk/>
            <pc:sldMk cId="1998592581" sldId="611"/>
            <ac:cxnSpMk id="14" creationId="{56308BCB-CF7C-4B31-A8E3-7A4C6718F5E0}"/>
          </ac:cxnSpMkLst>
        </pc:cxnChg>
        <pc:cxnChg chg="mod topLvl">
          <ac:chgData name="Andrew Sharp" userId="53f178df-da21-4936-8a93-86de9258956d" providerId="ADAL" clId="{0C248C7E-5B4F-4D11-9379-C3CCEE5B67A0}" dt="2018-10-25T14:37:00.615" v="20972" actId="1036"/>
          <ac:cxnSpMkLst>
            <pc:docMk/>
            <pc:sldMk cId="1998592581" sldId="611"/>
            <ac:cxnSpMk id="15" creationId="{D5C2D66A-8CBC-4191-B0F4-70A2009A4105}"/>
          </ac:cxnSpMkLst>
        </pc:cxnChg>
        <pc:cxnChg chg="mod topLvl">
          <ac:chgData name="Andrew Sharp" userId="53f178df-da21-4936-8a93-86de9258956d" providerId="ADAL" clId="{0C248C7E-5B4F-4D11-9379-C3CCEE5B67A0}" dt="2018-10-25T14:37:00.615" v="20972" actId="1036"/>
          <ac:cxnSpMkLst>
            <pc:docMk/>
            <pc:sldMk cId="1998592581" sldId="611"/>
            <ac:cxnSpMk id="16" creationId="{B7FBD949-B364-4C0B-AB91-93D7B17602D5}"/>
          </ac:cxnSpMkLst>
        </pc:cxnChg>
        <pc:cxnChg chg="mod topLvl">
          <ac:chgData name="Andrew Sharp" userId="53f178df-da21-4936-8a93-86de9258956d" providerId="ADAL" clId="{0C248C7E-5B4F-4D11-9379-C3CCEE5B67A0}" dt="2018-10-25T14:37:00.615" v="20972" actId="1036"/>
          <ac:cxnSpMkLst>
            <pc:docMk/>
            <pc:sldMk cId="1998592581" sldId="611"/>
            <ac:cxnSpMk id="17" creationId="{44D4C72C-F15F-4782-9AF9-DEFEE960EBE9}"/>
          </ac:cxnSpMkLst>
        </pc:cxnChg>
        <pc:cxnChg chg="add mod">
          <ac:chgData name="Andrew Sharp" userId="53f178df-da21-4936-8a93-86de9258956d" providerId="ADAL" clId="{0C248C7E-5B4F-4D11-9379-C3CCEE5B67A0}" dt="2018-10-25T14:37:00.615" v="20972" actId="1036"/>
          <ac:cxnSpMkLst>
            <pc:docMk/>
            <pc:sldMk cId="1998592581" sldId="611"/>
            <ac:cxnSpMk id="18" creationId="{EA090894-DEE6-4A80-A136-DDB9BAC51FDF}"/>
          </ac:cxnSpMkLst>
        </pc:cxnChg>
        <pc:cxnChg chg="add mod">
          <ac:chgData name="Andrew Sharp" userId="53f178df-da21-4936-8a93-86de9258956d" providerId="ADAL" clId="{0C248C7E-5B4F-4D11-9379-C3CCEE5B67A0}" dt="2018-10-25T14:39:11.885" v="21026" actId="1038"/>
          <ac:cxnSpMkLst>
            <pc:docMk/>
            <pc:sldMk cId="1998592581" sldId="611"/>
            <ac:cxnSpMk id="19" creationId="{C01C72D6-1A5C-4F81-B543-8A224D021190}"/>
          </ac:cxnSpMkLst>
        </pc:cxnChg>
        <pc:cxnChg chg="add mod">
          <ac:chgData name="Andrew Sharp" userId="53f178df-da21-4936-8a93-86de9258956d" providerId="ADAL" clId="{0C248C7E-5B4F-4D11-9379-C3CCEE5B67A0}" dt="2018-10-25T14:37:00.615" v="20972" actId="1036"/>
          <ac:cxnSpMkLst>
            <pc:docMk/>
            <pc:sldMk cId="1998592581" sldId="611"/>
            <ac:cxnSpMk id="21" creationId="{B673B9CE-748B-4D2E-916D-45260C32A0E1}"/>
          </ac:cxnSpMkLst>
        </pc:cxnChg>
        <pc:cxnChg chg="add mod">
          <ac:chgData name="Andrew Sharp" userId="53f178df-da21-4936-8a93-86de9258956d" providerId="ADAL" clId="{0C248C7E-5B4F-4D11-9379-C3CCEE5B67A0}" dt="2018-10-25T14:37:00.615" v="20972" actId="1036"/>
          <ac:cxnSpMkLst>
            <pc:docMk/>
            <pc:sldMk cId="1998592581" sldId="611"/>
            <ac:cxnSpMk id="22" creationId="{0B5DD4EF-8B81-4E5C-BEF2-B13B39E2B945}"/>
          </ac:cxnSpMkLst>
        </pc:cxnChg>
        <pc:cxnChg chg="add mod">
          <ac:chgData name="Andrew Sharp" userId="53f178df-da21-4936-8a93-86de9258956d" providerId="ADAL" clId="{0C248C7E-5B4F-4D11-9379-C3CCEE5B67A0}" dt="2018-10-25T14:37:00.615" v="20972" actId="1036"/>
          <ac:cxnSpMkLst>
            <pc:docMk/>
            <pc:sldMk cId="1998592581" sldId="611"/>
            <ac:cxnSpMk id="23" creationId="{5E258F0C-02CC-43F4-B6F7-060A82E3EC29}"/>
          </ac:cxnSpMkLst>
        </pc:cxnChg>
        <pc:cxnChg chg="add mod">
          <ac:chgData name="Andrew Sharp" userId="53f178df-da21-4936-8a93-86de9258956d" providerId="ADAL" clId="{0C248C7E-5B4F-4D11-9379-C3CCEE5B67A0}" dt="2018-10-25T14:37:00.615" v="20972" actId="1036"/>
          <ac:cxnSpMkLst>
            <pc:docMk/>
            <pc:sldMk cId="1998592581" sldId="611"/>
            <ac:cxnSpMk id="24" creationId="{79F4384B-FD76-4D79-A95E-02E4A86D965E}"/>
          </ac:cxnSpMkLst>
        </pc:cxnChg>
        <pc:cxnChg chg="add mod">
          <ac:chgData name="Andrew Sharp" userId="53f178df-da21-4936-8a93-86de9258956d" providerId="ADAL" clId="{0C248C7E-5B4F-4D11-9379-C3CCEE5B67A0}" dt="2018-10-25T14:37:00.615" v="20972" actId="1036"/>
          <ac:cxnSpMkLst>
            <pc:docMk/>
            <pc:sldMk cId="1998592581" sldId="611"/>
            <ac:cxnSpMk id="25" creationId="{30A6B4F1-C936-4263-85D3-5C6612BDCDD1}"/>
          </ac:cxnSpMkLst>
        </pc:cxnChg>
        <pc:cxnChg chg="add mod">
          <ac:chgData name="Andrew Sharp" userId="53f178df-da21-4936-8a93-86de9258956d" providerId="ADAL" clId="{0C248C7E-5B4F-4D11-9379-C3CCEE5B67A0}" dt="2018-10-25T14:37:00.615" v="20972" actId="1036"/>
          <ac:cxnSpMkLst>
            <pc:docMk/>
            <pc:sldMk cId="1998592581" sldId="611"/>
            <ac:cxnSpMk id="27" creationId="{B07BB4FA-A933-49B4-B732-B5FCC9480C2C}"/>
          </ac:cxnSpMkLst>
        </pc:cxnChg>
        <pc:cxnChg chg="add mod">
          <ac:chgData name="Andrew Sharp" userId="53f178df-da21-4936-8a93-86de9258956d" providerId="ADAL" clId="{0C248C7E-5B4F-4D11-9379-C3CCEE5B67A0}" dt="2018-10-25T14:37:00.615" v="20972" actId="1036"/>
          <ac:cxnSpMkLst>
            <pc:docMk/>
            <pc:sldMk cId="1998592581" sldId="611"/>
            <ac:cxnSpMk id="36" creationId="{354DC0D4-3368-46C7-B68A-00063442EF6D}"/>
          </ac:cxnSpMkLst>
        </pc:cxnChg>
        <pc:cxnChg chg="add mod">
          <ac:chgData name="Andrew Sharp" userId="53f178df-da21-4936-8a93-86de9258956d" providerId="ADAL" clId="{0C248C7E-5B4F-4D11-9379-C3CCEE5B67A0}" dt="2018-10-25T14:37:00.615" v="20972" actId="1036"/>
          <ac:cxnSpMkLst>
            <pc:docMk/>
            <pc:sldMk cId="1998592581" sldId="611"/>
            <ac:cxnSpMk id="37" creationId="{2C31C86A-09B5-4C0B-9473-FAC1A9259FC4}"/>
          </ac:cxnSpMkLst>
        </pc:cxnChg>
        <pc:cxnChg chg="add mod">
          <ac:chgData name="Andrew Sharp" userId="53f178df-da21-4936-8a93-86de9258956d" providerId="ADAL" clId="{0C248C7E-5B4F-4D11-9379-C3CCEE5B67A0}" dt="2018-10-25T14:37:00.615" v="20972" actId="1036"/>
          <ac:cxnSpMkLst>
            <pc:docMk/>
            <pc:sldMk cId="1998592581" sldId="611"/>
            <ac:cxnSpMk id="38" creationId="{B9CCE390-F56F-469C-AB3B-BCFE19AEADA5}"/>
          </ac:cxnSpMkLst>
        </pc:cxnChg>
        <pc:cxnChg chg="add mod">
          <ac:chgData name="Andrew Sharp" userId="53f178df-da21-4936-8a93-86de9258956d" providerId="ADAL" clId="{0C248C7E-5B4F-4D11-9379-C3CCEE5B67A0}" dt="2018-10-25T14:37:00.615" v="20972" actId="1036"/>
          <ac:cxnSpMkLst>
            <pc:docMk/>
            <pc:sldMk cId="1998592581" sldId="611"/>
            <ac:cxnSpMk id="39" creationId="{40B658F2-12DE-4C2D-BA01-7CBB3F2DD25D}"/>
          </ac:cxnSpMkLst>
        </pc:cxnChg>
        <pc:cxnChg chg="add del mod ord">
          <ac:chgData name="Andrew Sharp" userId="53f178df-da21-4936-8a93-86de9258956d" providerId="ADAL" clId="{0C248C7E-5B4F-4D11-9379-C3CCEE5B67A0}" dt="2018-10-25T14:30:58.623" v="20620" actId="478"/>
          <ac:cxnSpMkLst>
            <pc:docMk/>
            <pc:sldMk cId="1998592581" sldId="611"/>
            <ac:cxnSpMk id="46" creationId="{66231C01-374A-4789-99FE-55F03EE021BB}"/>
          </ac:cxnSpMkLst>
        </pc:cxnChg>
      </pc:sldChg>
      <pc:sldChg chg="addSp delSp modSp add">
        <pc:chgData name="Andrew Sharp" userId="53f178df-da21-4936-8a93-86de9258956d" providerId="ADAL" clId="{0C248C7E-5B4F-4D11-9379-C3CCEE5B67A0}" dt="2018-11-05T21:48:01.297" v="39580"/>
        <pc:sldMkLst>
          <pc:docMk/>
          <pc:sldMk cId="3206117302" sldId="613"/>
        </pc:sldMkLst>
        <pc:spChg chg="mod">
          <ac:chgData name="Andrew Sharp" userId="53f178df-da21-4936-8a93-86de9258956d" providerId="ADAL" clId="{0C248C7E-5B4F-4D11-9379-C3CCEE5B67A0}" dt="2018-11-05T15:43:07.856" v="35297" actId="14100"/>
          <ac:spMkLst>
            <pc:docMk/>
            <pc:sldMk cId="3206117302" sldId="613"/>
            <ac:spMk id="2" creationId="{54B5EB42-17FD-4EA9-BD9D-9A71E4E9F27A}"/>
          </ac:spMkLst>
        </pc:spChg>
        <pc:spChg chg="mod">
          <ac:chgData name="Andrew Sharp" userId="53f178df-da21-4936-8a93-86de9258956d" providerId="ADAL" clId="{0C248C7E-5B4F-4D11-9379-C3CCEE5B67A0}" dt="2018-11-05T20:38:54.110" v="39187" actId="20577"/>
          <ac:spMkLst>
            <pc:docMk/>
            <pc:sldMk cId="3206117302" sldId="613"/>
            <ac:spMk id="3" creationId="{F00BF32E-3F25-475E-AEF3-8F88274EA592}"/>
          </ac:spMkLst>
        </pc:spChg>
        <pc:spChg chg="del">
          <ac:chgData name="Andrew Sharp" userId="53f178df-da21-4936-8a93-86de9258956d" providerId="ADAL" clId="{0C248C7E-5B4F-4D11-9379-C3CCEE5B67A0}" dt="2018-11-05T21:48:00.723" v="39579" actId="478"/>
          <ac:spMkLst>
            <pc:docMk/>
            <pc:sldMk cId="3206117302" sldId="613"/>
            <ac:spMk id="4" creationId="{C75A31E1-21F0-4AFB-9789-BD6C7FF0E8AA}"/>
          </ac:spMkLst>
        </pc:spChg>
        <pc:spChg chg="mod">
          <ac:chgData name="Andrew Sharp" userId="53f178df-da21-4936-8a93-86de9258956d" providerId="ADAL" clId="{0C248C7E-5B4F-4D11-9379-C3CCEE5B67A0}" dt="2018-11-05T21:45:47.974" v="39578" actId="20577"/>
          <ac:spMkLst>
            <pc:docMk/>
            <pc:sldMk cId="3206117302" sldId="613"/>
            <ac:spMk id="5" creationId="{088DB95F-1A98-416A-BD1D-13BEBA935AC3}"/>
          </ac:spMkLst>
        </pc:spChg>
        <pc:spChg chg="mod">
          <ac:chgData name="Andrew Sharp" userId="53f178df-da21-4936-8a93-86de9258956d" providerId="ADAL" clId="{0C248C7E-5B4F-4D11-9379-C3CCEE5B67A0}" dt="2018-11-05T17:46:38.932" v="36035" actId="20577"/>
          <ac:spMkLst>
            <pc:docMk/>
            <pc:sldMk cId="3206117302" sldId="613"/>
            <ac:spMk id="7" creationId="{BEA6945D-AEDE-40A2-9B88-58E38FE662DC}"/>
          </ac:spMkLst>
        </pc:spChg>
        <pc:spChg chg="add del mod">
          <ac:chgData name="Andrew Sharp" userId="53f178df-da21-4936-8a93-86de9258956d" providerId="ADAL" clId="{0C248C7E-5B4F-4D11-9379-C3CCEE5B67A0}" dt="2018-11-05T21:43:50.894" v="39517" actId="478"/>
          <ac:spMkLst>
            <pc:docMk/>
            <pc:sldMk cId="3206117302" sldId="613"/>
            <ac:spMk id="9" creationId="{9F5C07E6-DEE9-42D1-BDAF-E4AFD7D3E543}"/>
          </ac:spMkLst>
        </pc:spChg>
        <pc:spChg chg="add">
          <ac:chgData name="Andrew Sharp" userId="53f178df-da21-4936-8a93-86de9258956d" providerId="ADAL" clId="{0C248C7E-5B4F-4D11-9379-C3CCEE5B67A0}" dt="2018-11-05T21:48:01.297" v="39580"/>
          <ac:spMkLst>
            <pc:docMk/>
            <pc:sldMk cId="3206117302" sldId="613"/>
            <ac:spMk id="10" creationId="{DDF8ACAE-49F9-45E6-9A99-2DC7C06F2158}"/>
          </ac:spMkLst>
        </pc:spChg>
        <pc:grpChg chg="add">
          <ac:chgData name="Andrew Sharp" userId="53f178df-da21-4936-8a93-86de9258956d" providerId="ADAL" clId="{0C248C7E-5B4F-4D11-9379-C3CCEE5B67A0}" dt="2018-11-05T15:37:24.866" v="34939"/>
          <ac:grpSpMkLst>
            <pc:docMk/>
            <pc:sldMk cId="3206117302" sldId="613"/>
            <ac:grpSpMk id="6" creationId="{EED55794-EBFC-4F60-8283-8492861852C4}"/>
          </ac:grpSpMkLst>
        </pc:grpChg>
      </pc:sldChg>
      <pc:sldChg chg="addSp delSp modSp add">
        <pc:chgData name="Andrew Sharp" userId="53f178df-da21-4936-8a93-86de9258956d" providerId="ADAL" clId="{0C248C7E-5B4F-4D11-9379-C3CCEE5B67A0}" dt="2018-11-05T21:01:45.929" v="39422" actId="20577"/>
        <pc:sldMkLst>
          <pc:docMk/>
          <pc:sldMk cId="1777798478" sldId="614"/>
        </pc:sldMkLst>
        <pc:spChg chg="mod">
          <ac:chgData name="Andrew Sharp" userId="53f178df-da21-4936-8a93-86de9258956d" providerId="ADAL" clId="{0C248C7E-5B4F-4D11-9379-C3CCEE5B67A0}" dt="2018-11-05T21:01:45.929" v="39422" actId="20577"/>
          <ac:spMkLst>
            <pc:docMk/>
            <pc:sldMk cId="1777798478" sldId="614"/>
            <ac:spMk id="2" creationId="{9C8E4928-2AFD-4CD5-A657-A0A890C3333B}"/>
          </ac:spMkLst>
        </pc:spChg>
        <pc:spChg chg="mod">
          <ac:chgData name="Andrew Sharp" userId="53f178df-da21-4936-8a93-86de9258956d" providerId="ADAL" clId="{0C248C7E-5B4F-4D11-9379-C3CCEE5B67A0}" dt="2018-11-05T20:13:29.498" v="39122" actId="20577"/>
          <ac:spMkLst>
            <pc:docMk/>
            <pc:sldMk cId="1777798478" sldId="614"/>
            <ac:spMk id="3" creationId="{25D0D359-BCB5-4F8D-83AA-E90092E27791}"/>
          </ac:spMkLst>
        </pc:spChg>
        <pc:spChg chg="mod">
          <ac:chgData name="Andrew Sharp" userId="53f178df-da21-4936-8a93-86de9258956d" providerId="ADAL" clId="{0C248C7E-5B4F-4D11-9379-C3CCEE5B67A0}" dt="2018-11-05T21:01:42.238" v="39415" actId="20577"/>
          <ac:spMkLst>
            <pc:docMk/>
            <pc:sldMk cId="1777798478" sldId="614"/>
            <ac:spMk id="4" creationId="{E0AF8002-6F64-493B-B9D5-53FFAF1BC8C2}"/>
          </ac:spMkLst>
        </pc:spChg>
        <pc:spChg chg="mod">
          <ac:chgData name="Andrew Sharp" userId="53f178df-da21-4936-8a93-86de9258956d" providerId="ADAL" clId="{0C248C7E-5B4F-4D11-9379-C3CCEE5B67A0}" dt="2018-11-05T15:18:07.302" v="34082" actId="14100"/>
          <ac:spMkLst>
            <pc:docMk/>
            <pc:sldMk cId="1777798478" sldId="614"/>
            <ac:spMk id="6" creationId="{8C2DE383-3E9B-4A8B-B93B-404BD174488F}"/>
          </ac:spMkLst>
        </pc:spChg>
        <pc:spChg chg="add del mod">
          <ac:chgData name="Andrew Sharp" userId="53f178df-da21-4936-8a93-86de9258956d" providerId="ADAL" clId="{0C248C7E-5B4F-4D11-9379-C3CCEE5B67A0}" dt="2018-11-05T15:19:54.925" v="34127"/>
          <ac:spMkLst>
            <pc:docMk/>
            <pc:sldMk cId="1777798478" sldId="614"/>
            <ac:spMk id="9" creationId="{D481DDAD-856B-4334-BA38-69B7B8CB7AD6}"/>
          </ac:spMkLst>
        </pc:spChg>
        <pc:spChg chg="add mod">
          <ac:chgData name="Andrew Sharp" userId="53f178df-da21-4936-8a93-86de9258956d" providerId="ADAL" clId="{0C248C7E-5B4F-4D11-9379-C3CCEE5B67A0}" dt="2018-11-05T20:12:14.679" v="39047" actId="20577"/>
          <ac:spMkLst>
            <pc:docMk/>
            <pc:sldMk cId="1777798478" sldId="614"/>
            <ac:spMk id="10" creationId="{4AA13D74-6D7B-420F-B136-0EB9AD09B2C4}"/>
          </ac:spMkLst>
        </pc:spChg>
        <pc:spChg chg="add">
          <ac:chgData name="Andrew Sharp" userId="53f178df-da21-4936-8a93-86de9258956d" providerId="ADAL" clId="{0C248C7E-5B4F-4D11-9379-C3CCEE5B67A0}" dt="2018-11-05T15:20:41.389" v="34136"/>
          <ac:spMkLst>
            <pc:docMk/>
            <pc:sldMk cId="1777798478" sldId="614"/>
            <ac:spMk id="11" creationId="{DA8AD114-7ABE-46DD-8A6E-08CC8195F570}"/>
          </ac:spMkLst>
        </pc:spChg>
        <pc:grpChg chg="add">
          <ac:chgData name="Andrew Sharp" userId="53f178df-da21-4936-8a93-86de9258956d" providerId="ADAL" clId="{0C248C7E-5B4F-4D11-9379-C3CCEE5B67A0}" dt="2018-11-05T14:41:56.260" v="31199"/>
          <ac:grpSpMkLst>
            <pc:docMk/>
            <pc:sldMk cId="1777798478" sldId="614"/>
            <ac:grpSpMk id="5" creationId="{E9BE5EF0-51FE-4FA9-9043-EFAA6C749122}"/>
          </ac:grpSpMkLst>
        </pc:grpChg>
        <pc:graphicFrameChg chg="add mod modGraphic">
          <ac:chgData name="Andrew Sharp" userId="53f178df-da21-4936-8a93-86de9258956d" providerId="ADAL" clId="{0C248C7E-5B4F-4D11-9379-C3CCEE5B67A0}" dt="2018-11-05T20:14:58.568" v="39134" actId="1076"/>
          <ac:graphicFrameMkLst>
            <pc:docMk/>
            <pc:sldMk cId="1777798478" sldId="614"/>
            <ac:graphicFrameMk id="8" creationId="{C9C5EE5A-E6D9-498D-B398-0AE023D44F51}"/>
          </ac:graphicFrameMkLst>
        </pc:graphicFrameChg>
        <pc:picChg chg="mod">
          <ac:chgData name="Andrew Sharp" userId="53f178df-da21-4936-8a93-86de9258956d" providerId="ADAL" clId="{0C248C7E-5B4F-4D11-9379-C3CCEE5B67A0}" dt="2018-11-05T15:17:59.479" v="34079" actId="14100"/>
          <ac:picMkLst>
            <pc:docMk/>
            <pc:sldMk cId="1777798478" sldId="614"/>
            <ac:picMk id="7" creationId="{7258C4FA-3C1E-423B-BF8C-822D1C541695}"/>
          </ac:picMkLst>
        </pc:picChg>
      </pc:sldChg>
      <pc:sldChg chg="addSp delSp modSp add ord">
        <pc:chgData name="Andrew Sharp" userId="53f178df-da21-4936-8a93-86de9258956d" providerId="ADAL" clId="{0C248C7E-5B4F-4D11-9379-C3CCEE5B67A0}" dt="2018-11-08T18:18:34.409" v="41013" actId="14100"/>
        <pc:sldMkLst>
          <pc:docMk/>
          <pc:sldMk cId="299198272" sldId="615"/>
        </pc:sldMkLst>
        <pc:spChg chg="del">
          <ac:chgData name="Andrew Sharp" userId="53f178df-da21-4936-8a93-86de9258956d" providerId="ADAL" clId="{0C248C7E-5B4F-4D11-9379-C3CCEE5B67A0}" dt="2018-11-08T17:36:52.692" v="39903"/>
          <ac:spMkLst>
            <pc:docMk/>
            <pc:sldMk cId="299198272" sldId="615"/>
            <ac:spMk id="2" creationId="{926EA316-4C94-4413-B95A-DADC71FA5FF0}"/>
          </ac:spMkLst>
        </pc:spChg>
        <pc:spChg chg="del">
          <ac:chgData name="Andrew Sharp" userId="53f178df-da21-4936-8a93-86de9258956d" providerId="ADAL" clId="{0C248C7E-5B4F-4D11-9379-C3CCEE5B67A0}" dt="2018-11-08T17:36:52.692" v="39903"/>
          <ac:spMkLst>
            <pc:docMk/>
            <pc:sldMk cId="299198272" sldId="615"/>
            <ac:spMk id="3" creationId="{76F99CE4-2D61-4F93-B50C-8B6423FB1007}"/>
          </ac:spMkLst>
        </pc:spChg>
        <pc:spChg chg="del">
          <ac:chgData name="Andrew Sharp" userId="53f178df-da21-4936-8a93-86de9258956d" providerId="ADAL" clId="{0C248C7E-5B4F-4D11-9379-C3CCEE5B67A0}" dt="2018-11-08T17:36:52.692" v="39903"/>
          <ac:spMkLst>
            <pc:docMk/>
            <pc:sldMk cId="299198272" sldId="615"/>
            <ac:spMk id="4" creationId="{8FE31BE4-B452-4223-B311-E78B9B09F0D9}"/>
          </ac:spMkLst>
        </pc:spChg>
        <pc:spChg chg="del">
          <ac:chgData name="Andrew Sharp" userId="53f178df-da21-4936-8a93-86de9258956d" providerId="ADAL" clId="{0C248C7E-5B4F-4D11-9379-C3CCEE5B67A0}" dt="2018-11-08T17:36:52.692" v="39903"/>
          <ac:spMkLst>
            <pc:docMk/>
            <pc:sldMk cId="299198272" sldId="615"/>
            <ac:spMk id="5" creationId="{B88628D3-31F0-4149-B41A-A905A2217A5E}"/>
          </ac:spMkLst>
        </pc:spChg>
        <pc:spChg chg="del">
          <ac:chgData name="Andrew Sharp" userId="53f178df-da21-4936-8a93-86de9258956d" providerId="ADAL" clId="{0C248C7E-5B4F-4D11-9379-C3CCEE5B67A0}" dt="2018-11-08T17:36:52.692" v="39903"/>
          <ac:spMkLst>
            <pc:docMk/>
            <pc:sldMk cId="299198272" sldId="615"/>
            <ac:spMk id="6" creationId="{05C9C4C8-DB3F-4757-AEE4-1DFAB20E0588}"/>
          </ac:spMkLst>
        </pc:spChg>
        <pc:spChg chg="del">
          <ac:chgData name="Andrew Sharp" userId="53f178df-da21-4936-8a93-86de9258956d" providerId="ADAL" clId="{0C248C7E-5B4F-4D11-9379-C3CCEE5B67A0}" dt="2018-11-08T17:36:52.692" v="39903"/>
          <ac:spMkLst>
            <pc:docMk/>
            <pc:sldMk cId="299198272" sldId="615"/>
            <ac:spMk id="7" creationId="{8CF7F4B0-7591-47A7-B0C2-282B2A42BC22}"/>
          </ac:spMkLst>
        </pc:spChg>
        <pc:spChg chg="del">
          <ac:chgData name="Andrew Sharp" userId="53f178df-da21-4936-8a93-86de9258956d" providerId="ADAL" clId="{0C248C7E-5B4F-4D11-9379-C3CCEE5B67A0}" dt="2018-11-08T17:36:52.692" v="39903"/>
          <ac:spMkLst>
            <pc:docMk/>
            <pc:sldMk cId="299198272" sldId="615"/>
            <ac:spMk id="8" creationId="{C1867CDF-9B5D-487C-A5A2-EB6392A62178}"/>
          </ac:spMkLst>
        </pc:spChg>
        <pc:spChg chg="add mod">
          <ac:chgData name="Andrew Sharp" userId="53f178df-da21-4936-8a93-86de9258956d" providerId="ADAL" clId="{0C248C7E-5B4F-4D11-9379-C3CCEE5B67A0}" dt="2018-11-08T17:37:43.828" v="39943" actId="6549"/>
          <ac:spMkLst>
            <pc:docMk/>
            <pc:sldMk cId="299198272" sldId="615"/>
            <ac:spMk id="9" creationId="{0639F032-4B82-43FE-AF0D-5BF69C5A23B8}"/>
          </ac:spMkLst>
        </pc:spChg>
        <pc:spChg chg="add mod">
          <ac:chgData name="Andrew Sharp" userId="53f178df-da21-4936-8a93-86de9258956d" providerId="ADAL" clId="{0C248C7E-5B4F-4D11-9379-C3CCEE5B67A0}" dt="2018-11-08T18:16:54.121" v="40860" actId="1036"/>
          <ac:spMkLst>
            <pc:docMk/>
            <pc:sldMk cId="299198272" sldId="615"/>
            <ac:spMk id="13" creationId="{C839BB42-028B-4C52-BFC9-8528ED693E6B}"/>
          </ac:spMkLst>
        </pc:spChg>
        <pc:spChg chg="add mod">
          <ac:chgData name="Andrew Sharp" userId="53f178df-da21-4936-8a93-86de9258956d" providerId="ADAL" clId="{0C248C7E-5B4F-4D11-9379-C3CCEE5B67A0}" dt="2018-11-08T18:16:35.217" v="40849" actId="1076"/>
          <ac:spMkLst>
            <pc:docMk/>
            <pc:sldMk cId="299198272" sldId="615"/>
            <ac:spMk id="15" creationId="{75FDBEAD-22AD-48A8-83FA-A99D14012FA4}"/>
          </ac:spMkLst>
        </pc:spChg>
        <pc:spChg chg="add mod">
          <ac:chgData name="Andrew Sharp" userId="53f178df-da21-4936-8a93-86de9258956d" providerId="ADAL" clId="{0C248C7E-5B4F-4D11-9379-C3CCEE5B67A0}" dt="2018-11-08T18:16:54.121" v="40860" actId="1036"/>
          <ac:spMkLst>
            <pc:docMk/>
            <pc:sldMk cId="299198272" sldId="615"/>
            <ac:spMk id="19" creationId="{2C22A1B4-6801-40B4-ACD8-B1A8F5910EDD}"/>
          </ac:spMkLst>
        </pc:spChg>
        <pc:spChg chg="add mod">
          <ac:chgData name="Andrew Sharp" userId="53f178df-da21-4936-8a93-86de9258956d" providerId="ADAL" clId="{0C248C7E-5B4F-4D11-9379-C3CCEE5B67A0}" dt="2018-11-08T18:18:05.682" v="41008" actId="20577"/>
          <ac:spMkLst>
            <pc:docMk/>
            <pc:sldMk cId="299198272" sldId="615"/>
            <ac:spMk id="20" creationId="{10FC5ED9-62AE-4AFE-9964-EE8D58283870}"/>
          </ac:spMkLst>
        </pc:spChg>
        <pc:grpChg chg="add mod">
          <ac:chgData name="Andrew Sharp" userId="53f178df-da21-4936-8a93-86de9258956d" providerId="ADAL" clId="{0C248C7E-5B4F-4D11-9379-C3CCEE5B67A0}" dt="2018-11-08T18:16:54.121" v="40860" actId="1036"/>
          <ac:grpSpMkLst>
            <pc:docMk/>
            <pc:sldMk cId="299198272" sldId="615"/>
            <ac:grpSpMk id="12" creationId="{3C62F447-337A-4416-AD34-9AF1F96E4D83}"/>
          </ac:grpSpMkLst>
        </pc:grpChg>
        <pc:grpChg chg="add mod">
          <ac:chgData name="Andrew Sharp" userId="53f178df-da21-4936-8a93-86de9258956d" providerId="ADAL" clId="{0C248C7E-5B4F-4D11-9379-C3CCEE5B67A0}" dt="2018-11-08T18:12:21.113" v="40515" actId="164"/>
          <ac:grpSpMkLst>
            <pc:docMk/>
            <pc:sldMk cId="299198272" sldId="615"/>
            <ac:grpSpMk id="18" creationId="{CD831599-FEC3-4C0D-B443-46117C0F175F}"/>
          </ac:grpSpMkLst>
        </pc:grpChg>
        <pc:picChg chg="add mod ord">
          <ac:chgData name="Andrew Sharp" userId="53f178df-da21-4936-8a93-86de9258956d" providerId="ADAL" clId="{0C248C7E-5B4F-4D11-9379-C3CCEE5B67A0}" dt="2018-11-08T17:43:13.751" v="40235" actId="1038"/>
          <ac:picMkLst>
            <pc:docMk/>
            <pc:sldMk cId="299198272" sldId="615"/>
            <ac:picMk id="10" creationId="{363A9518-3902-408B-94BC-0095F409F0F0}"/>
          </ac:picMkLst>
        </pc:picChg>
        <pc:picChg chg="add mod">
          <ac:chgData name="Andrew Sharp" userId="53f178df-da21-4936-8a93-86de9258956d" providerId="ADAL" clId="{0C248C7E-5B4F-4D11-9379-C3CCEE5B67A0}" dt="2018-11-08T18:13:42.353" v="40611" actId="1076"/>
          <ac:picMkLst>
            <pc:docMk/>
            <pc:sldMk cId="299198272" sldId="615"/>
            <ac:picMk id="11" creationId="{C4B6E5FD-3CBF-4FAE-ADF7-AEFF55F76FC1}"/>
          </ac:picMkLst>
        </pc:picChg>
        <pc:picChg chg="add mod">
          <ac:chgData name="Andrew Sharp" userId="53f178df-da21-4936-8a93-86de9258956d" providerId="ADAL" clId="{0C248C7E-5B4F-4D11-9379-C3CCEE5B67A0}" dt="2018-11-08T18:16:54.121" v="40860" actId="1036"/>
          <ac:picMkLst>
            <pc:docMk/>
            <pc:sldMk cId="299198272" sldId="615"/>
            <ac:picMk id="14" creationId="{ABD6B2C4-CB5E-4F8F-950E-13E91B1AC5D7}"/>
          </ac:picMkLst>
        </pc:picChg>
        <pc:picChg chg="add mod">
          <ac:chgData name="Andrew Sharp" userId="53f178df-da21-4936-8a93-86de9258956d" providerId="ADAL" clId="{0C248C7E-5B4F-4D11-9379-C3CCEE5B67A0}" dt="2018-11-08T18:12:21.113" v="40515" actId="164"/>
          <ac:picMkLst>
            <pc:docMk/>
            <pc:sldMk cId="299198272" sldId="615"/>
            <ac:picMk id="16" creationId="{02AABAE1-8A45-44E3-A73A-ACBAEAF06264}"/>
          </ac:picMkLst>
        </pc:picChg>
        <pc:picChg chg="add mod">
          <ac:chgData name="Andrew Sharp" userId="53f178df-da21-4936-8a93-86de9258956d" providerId="ADAL" clId="{0C248C7E-5B4F-4D11-9379-C3CCEE5B67A0}" dt="2018-11-08T18:16:32.448" v="40848" actId="14100"/>
          <ac:picMkLst>
            <pc:docMk/>
            <pc:sldMk cId="299198272" sldId="615"/>
            <ac:picMk id="17" creationId="{62CC8898-896C-4415-9B1E-310D541C9CBF}"/>
          </ac:picMkLst>
        </pc:picChg>
        <pc:picChg chg="add mod">
          <ac:chgData name="Andrew Sharp" userId="53f178df-da21-4936-8a93-86de9258956d" providerId="ADAL" clId="{0C248C7E-5B4F-4D11-9379-C3CCEE5B67A0}" dt="2018-11-08T18:18:34.409" v="41013" actId="14100"/>
          <ac:picMkLst>
            <pc:docMk/>
            <pc:sldMk cId="299198272" sldId="615"/>
            <ac:picMk id="21" creationId="{5E2C5983-DA74-4F95-8EB2-FE70AF94F1B3}"/>
          </ac:picMkLst>
        </pc:pic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315789473684209E-2"/>
          <c:y val="6.1111111111111109E-2"/>
          <c:w val="0.96411483253588515"/>
          <c:h val="0.91666666666666663"/>
        </c:manualLayout>
      </c:layout>
      <c:barChart>
        <c:barDir val="col"/>
        <c:grouping val="clustered"/>
        <c:varyColors val="0"/>
        <c:ser>
          <c:idx val="0"/>
          <c:order val="0"/>
          <c:tx>
            <c:strRef>
              <c:f>Sheet1!$A$2</c:f>
              <c:strCache>
                <c:ptCount val="1"/>
              </c:strCache>
            </c:strRef>
          </c:tx>
          <c:spPr>
            <a:solidFill>
              <a:schemeClr val="accent1"/>
            </a:solidFill>
            <a:ln w="12679">
              <a:solidFill>
                <a:srgbClr val="333333"/>
              </a:solidFill>
              <a:prstDash val="solid"/>
            </a:ln>
          </c:spPr>
          <c:invertIfNegative val="0"/>
          <c:dPt>
            <c:idx val="0"/>
            <c:invertIfNegative val="0"/>
            <c:bubble3D val="0"/>
            <c:extLst xmlns:c16r2="http://schemas.microsoft.com/office/drawing/2015/06/chart">
              <c:ext xmlns:c16="http://schemas.microsoft.com/office/drawing/2014/chart" uri="{C3380CC4-5D6E-409C-BE32-E72D297353CC}">
                <c16:uniqueId val="{00000000-0CA0-426A-B47B-203CB02C9929}"/>
              </c:ext>
            </c:extLst>
          </c:dPt>
          <c:dPt>
            <c:idx val="1"/>
            <c:invertIfNegative val="0"/>
            <c:bubble3D val="0"/>
            <c:extLst xmlns:c16r2="http://schemas.microsoft.com/office/drawing/2015/06/chart">
              <c:ext xmlns:c16="http://schemas.microsoft.com/office/drawing/2014/chart" uri="{C3380CC4-5D6E-409C-BE32-E72D297353CC}">
                <c16:uniqueId val="{00000001-0CA0-426A-B47B-203CB02C9929}"/>
              </c:ext>
            </c:extLst>
          </c:dPt>
          <c:dPt>
            <c:idx val="2"/>
            <c:invertIfNegative val="0"/>
            <c:bubble3D val="0"/>
            <c:extLst xmlns:c16r2="http://schemas.microsoft.com/office/drawing/2015/06/chart">
              <c:ext xmlns:c16="http://schemas.microsoft.com/office/drawing/2014/chart" uri="{C3380CC4-5D6E-409C-BE32-E72D297353CC}">
                <c16:uniqueId val="{00000002-0CA0-426A-B47B-203CB02C9929}"/>
              </c:ext>
            </c:extLst>
          </c:dPt>
          <c:dPt>
            <c:idx val="3"/>
            <c:invertIfNegative val="0"/>
            <c:bubble3D val="0"/>
            <c:extLst xmlns:c16r2="http://schemas.microsoft.com/office/drawing/2015/06/chart">
              <c:ext xmlns:c16="http://schemas.microsoft.com/office/drawing/2014/chart" uri="{C3380CC4-5D6E-409C-BE32-E72D297353CC}">
                <c16:uniqueId val="{00000003-0CA0-426A-B47B-203CB02C9929}"/>
              </c:ext>
            </c:extLst>
          </c:dPt>
          <c:cat>
            <c:numRef>
              <c:f>Sheet1!$B$1:$E$1</c:f>
              <c:numCache>
                <c:formatCode>General</c:formatCode>
                <c:ptCount val="4"/>
              </c:numCache>
            </c:numRef>
          </c:cat>
          <c:val>
            <c:numRef>
              <c:f>Sheet1!$B$2:$E$2</c:f>
              <c:numCache>
                <c:formatCode>General</c:formatCode>
                <c:ptCount val="4"/>
                <c:pt idx="0">
                  <c:v>67.272727272734912</c:v>
                </c:pt>
                <c:pt idx="1">
                  <c:v>68.50694444445223</c:v>
                </c:pt>
                <c:pt idx="2">
                  <c:v>71.527777777785914</c:v>
                </c:pt>
                <c:pt idx="3">
                  <c:v>68.000000000007731</c:v>
                </c:pt>
              </c:numCache>
            </c:numRef>
          </c:val>
          <c:extLst xmlns:c16r2="http://schemas.microsoft.com/office/drawing/2015/06/chart">
            <c:ext xmlns:c16="http://schemas.microsoft.com/office/drawing/2014/chart" uri="{C3380CC4-5D6E-409C-BE32-E72D297353CC}">
              <c16:uniqueId val="{00000004-0CA0-426A-B47B-203CB02C9929}"/>
            </c:ext>
          </c:extLst>
        </c:ser>
        <c:ser>
          <c:idx val="1"/>
          <c:order val="1"/>
          <c:tx>
            <c:strRef>
              <c:f>Sheet1!$A$3</c:f>
              <c:strCache>
                <c:ptCount val="1"/>
              </c:strCache>
            </c:strRef>
          </c:tx>
          <c:spPr>
            <a:solidFill>
              <a:schemeClr val="accent2"/>
            </a:solidFill>
            <a:ln w="12679">
              <a:solidFill>
                <a:srgbClr val="333333"/>
              </a:solidFill>
              <a:prstDash val="solid"/>
            </a:ln>
          </c:spPr>
          <c:invertIfNegative val="0"/>
          <c:cat>
            <c:numRef>
              <c:f>Sheet1!$B$1:$E$1</c:f>
              <c:numCache>
                <c:formatCode>General</c:formatCode>
                <c:ptCount val="4"/>
              </c:numCache>
            </c:numRef>
          </c:cat>
          <c:val>
            <c:numRef>
              <c:f>Sheet1!$B$3:$E$3</c:f>
              <c:numCache>
                <c:formatCode>General</c:formatCode>
                <c:ptCount val="4"/>
                <c:pt idx="0">
                  <c:v>47.881944444449886</c:v>
                </c:pt>
                <c:pt idx="1">
                  <c:v>43.695652173918013</c:v>
                </c:pt>
                <c:pt idx="2">
                  <c:v>46.954022988511085</c:v>
                </c:pt>
                <c:pt idx="3">
                  <c:v>43.143939393944301</c:v>
                </c:pt>
              </c:numCache>
            </c:numRef>
          </c:val>
          <c:extLst xmlns:c16r2="http://schemas.microsoft.com/office/drawing/2015/06/chart">
            <c:ext xmlns:c16="http://schemas.microsoft.com/office/drawing/2014/chart" uri="{C3380CC4-5D6E-409C-BE32-E72D297353CC}">
              <c16:uniqueId val="{00000005-0CA0-426A-B47B-203CB02C9929}"/>
            </c:ext>
          </c:extLst>
        </c:ser>
        <c:dLbls>
          <c:showLegendKey val="0"/>
          <c:showVal val="0"/>
          <c:showCatName val="0"/>
          <c:showSerName val="0"/>
          <c:showPercent val="0"/>
          <c:showBubbleSize val="0"/>
        </c:dLbls>
        <c:gapWidth val="80"/>
        <c:axId val="252093968"/>
        <c:axId val="566291472"/>
      </c:barChart>
      <c:catAx>
        <c:axId val="252093968"/>
        <c:scaling>
          <c:orientation val="minMax"/>
        </c:scaling>
        <c:delete val="0"/>
        <c:axPos val="b"/>
        <c:numFmt formatCode="General" sourceLinked="1"/>
        <c:majorTickMark val="none"/>
        <c:minorTickMark val="none"/>
        <c:tickLblPos val="none"/>
        <c:spPr>
          <a:ln w="12679">
            <a:solidFill>
              <a:schemeClr val="tx1"/>
            </a:solidFill>
            <a:prstDash val="solid"/>
          </a:ln>
        </c:spPr>
        <c:crossAx val="566291472"/>
        <c:crossesAt val="0"/>
        <c:auto val="1"/>
        <c:lblAlgn val="ctr"/>
        <c:lblOffset val="100"/>
        <c:tickLblSkip val="1"/>
        <c:tickMarkSkip val="1"/>
        <c:noMultiLvlLbl val="0"/>
      </c:catAx>
      <c:valAx>
        <c:axId val="566291472"/>
        <c:scaling>
          <c:orientation val="minMax"/>
          <c:max val="100"/>
          <c:min val="0"/>
        </c:scaling>
        <c:delete val="0"/>
        <c:axPos val="l"/>
        <c:numFmt formatCode="General" sourceLinked="1"/>
        <c:majorTickMark val="none"/>
        <c:minorTickMark val="none"/>
        <c:tickLblPos val="none"/>
        <c:spPr>
          <a:ln w="12679">
            <a:solidFill>
              <a:schemeClr val="tx1"/>
            </a:solidFill>
            <a:prstDash val="solid"/>
          </a:ln>
        </c:spPr>
        <c:crossAx val="252093968"/>
        <c:crosses val="autoZero"/>
        <c:crossBetween val="between"/>
        <c:majorUnit val="20"/>
      </c:valAx>
      <c:spPr>
        <a:noFill/>
        <a:ln w="25357">
          <a:noFill/>
        </a:ln>
      </c:spPr>
    </c:plotArea>
    <c:plotVisOnly val="1"/>
    <c:dispBlanksAs val="gap"/>
    <c:showDLblsOverMax val="0"/>
  </c:chart>
  <c:spPr>
    <a:noFill/>
    <a:ln>
      <a:noFill/>
    </a:ln>
  </c:spPr>
  <c:txPr>
    <a:bodyPr/>
    <a:lstStyle/>
    <a:p>
      <a:pPr>
        <a:defRPr sz="1198" b="1" i="0" u="none" strike="noStrike" baseline="0">
          <a:solidFill>
            <a:schemeClr val="tx1"/>
          </a:solidFill>
          <a:latin typeface="Calibri"/>
          <a:ea typeface="Calibri"/>
          <a:cs typeface="Calibri"/>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680280046674443E-3"/>
          <c:y val="5.3846153846153849E-2"/>
          <c:w val="0.98833138856476077"/>
          <c:h val="0.91538461538461535"/>
        </c:manualLayout>
      </c:layout>
      <c:barChart>
        <c:barDir val="col"/>
        <c:grouping val="clustered"/>
        <c:varyColors val="0"/>
        <c:ser>
          <c:idx val="0"/>
          <c:order val="0"/>
          <c:tx>
            <c:strRef>
              <c:f>Sheet1!$A$2</c:f>
              <c:strCache>
                <c:ptCount val="1"/>
              </c:strCache>
            </c:strRef>
          </c:tx>
          <c:spPr>
            <a:solidFill>
              <a:schemeClr val="accent1"/>
            </a:solidFill>
            <a:ln w="12489">
              <a:solidFill>
                <a:srgbClr val="333333"/>
              </a:solidFill>
              <a:prstDash val="solid"/>
            </a:ln>
          </c:spPr>
          <c:invertIfNegative val="0"/>
          <c:dPt>
            <c:idx val="0"/>
            <c:invertIfNegative val="0"/>
            <c:bubble3D val="0"/>
            <c:spPr>
              <a:solidFill>
                <a:schemeClr val="accent5">
                  <a:lumMod val="50000"/>
                </a:schemeClr>
              </a:solidFill>
              <a:ln w="12489">
                <a:solidFill>
                  <a:srgbClr val="333333"/>
                </a:solidFill>
                <a:prstDash val="solid"/>
              </a:ln>
            </c:spPr>
            <c:extLst xmlns:c16r2="http://schemas.microsoft.com/office/drawing/2015/06/chart">
              <c:ext xmlns:c16="http://schemas.microsoft.com/office/drawing/2014/chart" uri="{C3380CC4-5D6E-409C-BE32-E72D297353CC}">
                <c16:uniqueId val="{00000001-B138-47DA-9BD5-A257EABDFE60}"/>
              </c:ext>
            </c:extLst>
          </c:dPt>
          <c:dPt>
            <c:idx val="1"/>
            <c:invertIfNegative val="0"/>
            <c:bubble3D val="0"/>
            <c:spPr>
              <a:solidFill>
                <a:schemeClr val="accent5">
                  <a:lumMod val="50000"/>
                </a:schemeClr>
              </a:solidFill>
              <a:ln w="12489">
                <a:solidFill>
                  <a:srgbClr val="333333"/>
                </a:solidFill>
                <a:prstDash val="solid"/>
              </a:ln>
            </c:spPr>
            <c:extLst xmlns:c16r2="http://schemas.microsoft.com/office/drawing/2015/06/chart">
              <c:ext xmlns:c16="http://schemas.microsoft.com/office/drawing/2014/chart" uri="{C3380CC4-5D6E-409C-BE32-E72D297353CC}">
                <c16:uniqueId val="{00000003-B138-47DA-9BD5-A257EABDFE60}"/>
              </c:ext>
            </c:extLst>
          </c:dPt>
          <c:dPt>
            <c:idx val="2"/>
            <c:invertIfNegative val="0"/>
            <c:bubble3D val="0"/>
            <c:extLst xmlns:c16r2="http://schemas.microsoft.com/office/drawing/2015/06/chart">
              <c:ext xmlns:c16="http://schemas.microsoft.com/office/drawing/2014/chart" uri="{C3380CC4-5D6E-409C-BE32-E72D297353CC}">
                <c16:uniqueId val="{00000004-B138-47DA-9BD5-A257EABDFE60}"/>
              </c:ext>
            </c:extLst>
          </c:dPt>
          <c:dPt>
            <c:idx val="3"/>
            <c:invertIfNegative val="0"/>
            <c:bubble3D val="0"/>
            <c:extLst xmlns:c16r2="http://schemas.microsoft.com/office/drawing/2015/06/chart">
              <c:ext xmlns:c16="http://schemas.microsoft.com/office/drawing/2014/chart" uri="{C3380CC4-5D6E-409C-BE32-E72D297353CC}">
                <c16:uniqueId val="{00000005-B138-47DA-9BD5-A257EABDFE60}"/>
              </c:ext>
            </c:extLst>
          </c:dPt>
          <c:dPt>
            <c:idx val="4"/>
            <c:invertIfNegative val="0"/>
            <c:bubble3D val="0"/>
            <c:extLst xmlns:c16r2="http://schemas.microsoft.com/office/drawing/2015/06/chart">
              <c:ext xmlns:c16="http://schemas.microsoft.com/office/drawing/2014/chart" uri="{C3380CC4-5D6E-409C-BE32-E72D297353CC}">
                <c16:uniqueId val="{00000006-B138-47DA-9BD5-A257EABDFE60}"/>
              </c:ext>
            </c:extLst>
          </c:dPt>
          <c:dPt>
            <c:idx val="5"/>
            <c:invertIfNegative val="0"/>
            <c:bubble3D val="0"/>
            <c:spPr>
              <a:solidFill>
                <a:schemeClr val="accent2"/>
              </a:solidFill>
              <a:ln w="12489">
                <a:solidFill>
                  <a:srgbClr val="333333"/>
                </a:solidFill>
                <a:prstDash val="solid"/>
              </a:ln>
            </c:spPr>
            <c:extLst xmlns:c16r2="http://schemas.microsoft.com/office/drawing/2015/06/chart">
              <c:ext xmlns:c16="http://schemas.microsoft.com/office/drawing/2014/chart" uri="{C3380CC4-5D6E-409C-BE32-E72D297353CC}">
                <c16:uniqueId val="{00000008-B138-47DA-9BD5-A257EABDFE60}"/>
              </c:ext>
            </c:extLst>
          </c:dPt>
          <c:dPt>
            <c:idx val="6"/>
            <c:invertIfNegative val="0"/>
            <c:bubble3D val="0"/>
            <c:spPr>
              <a:solidFill>
                <a:schemeClr val="accent2"/>
              </a:solidFill>
              <a:ln w="12489">
                <a:solidFill>
                  <a:srgbClr val="333333"/>
                </a:solidFill>
                <a:prstDash val="solid"/>
              </a:ln>
            </c:spPr>
            <c:extLst xmlns:c16r2="http://schemas.microsoft.com/office/drawing/2015/06/chart">
              <c:ext xmlns:c16="http://schemas.microsoft.com/office/drawing/2014/chart" uri="{C3380CC4-5D6E-409C-BE32-E72D297353CC}">
                <c16:uniqueId val="{0000000A-B138-47DA-9BD5-A257EABDFE60}"/>
              </c:ext>
            </c:extLst>
          </c:dPt>
          <c:cat>
            <c:numRef>
              <c:f>Sheet1!$B$1:$H$1</c:f>
              <c:numCache>
                <c:formatCode>General</c:formatCode>
                <c:ptCount val="7"/>
              </c:numCache>
            </c:numRef>
          </c:cat>
          <c:val>
            <c:numRef>
              <c:f>Sheet1!$B$2:$H$2</c:f>
              <c:numCache>
                <c:formatCode>General</c:formatCode>
                <c:ptCount val="7"/>
                <c:pt idx="0">
                  <c:v>24.118476727788359</c:v>
                </c:pt>
                <c:pt idx="1">
                  <c:v>20.733427362484726</c:v>
                </c:pt>
                <c:pt idx="2">
                  <c:v>18.617771509169959</c:v>
                </c:pt>
                <c:pt idx="3">
                  <c:v>18.47672778561564</c:v>
                </c:pt>
                <c:pt idx="4">
                  <c:v>5.218617772</c:v>
                </c:pt>
                <c:pt idx="5">
                  <c:v>7.4753173483788471</c:v>
                </c:pt>
                <c:pt idx="6">
                  <c:v>5.3596614950640786</c:v>
                </c:pt>
              </c:numCache>
            </c:numRef>
          </c:val>
          <c:extLst xmlns:c16r2="http://schemas.microsoft.com/office/drawing/2015/06/chart">
            <c:ext xmlns:c16="http://schemas.microsoft.com/office/drawing/2014/chart" uri="{C3380CC4-5D6E-409C-BE32-E72D297353CC}">
              <c16:uniqueId val="{0000000B-B138-47DA-9BD5-A257EABDFE60}"/>
            </c:ext>
          </c:extLst>
        </c:ser>
        <c:dLbls>
          <c:showLegendKey val="0"/>
          <c:showVal val="0"/>
          <c:showCatName val="0"/>
          <c:showSerName val="0"/>
          <c:showPercent val="0"/>
          <c:showBubbleSize val="0"/>
        </c:dLbls>
        <c:gapWidth val="80"/>
        <c:axId val="566291080"/>
        <c:axId val="566293040"/>
      </c:barChart>
      <c:catAx>
        <c:axId val="566291080"/>
        <c:scaling>
          <c:orientation val="minMax"/>
        </c:scaling>
        <c:delete val="0"/>
        <c:axPos val="b"/>
        <c:numFmt formatCode="General" sourceLinked="1"/>
        <c:majorTickMark val="none"/>
        <c:minorTickMark val="none"/>
        <c:tickLblPos val="none"/>
        <c:spPr>
          <a:ln w="12489">
            <a:solidFill>
              <a:schemeClr val="tx1"/>
            </a:solidFill>
            <a:prstDash val="solid"/>
          </a:ln>
        </c:spPr>
        <c:crossAx val="566293040"/>
        <c:crossesAt val="0"/>
        <c:auto val="1"/>
        <c:lblAlgn val="ctr"/>
        <c:lblOffset val="100"/>
        <c:tickLblSkip val="1"/>
        <c:tickMarkSkip val="1"/>
        <c:noMultiLvlLbl val="0"/>
      </c:catAx>
      <c:valAx>
        <c:axId val="566293040"/>
        <c:scaling>
          <c:orientation val="minMax"/>
          <c:max val="24.118476727785616"/>
          <c:min val="0"/>
        </c:scaling>
        <c:delete val="0"/>
        <c:axPos val="l"/>
        <c:numFmt formatCode="General" sourceLinked="1"/>
        <c:majorTickMark val="none"/>
        <c:minorTickMark val="none"/>
        <c:tickLblPos val="none"/>
        <c:spPr>
          <a:ln w="6244">
            <a:noFill/>
          </a:ln>
        </c:spPr>
        <c:crossAx val="566291080"/>
        <c:crosses val="autoZero"/>
        <c:crossBetween val="between"/>
      </c:valAx>
      <c:spPr>
        <a:noFill/>
        <a:ln w="24977">
          <a:noFill/>
        </a:ln>
      </c:spPr>
    </c:plotArea>
    <c:plotVisOnly val="1"/>
    <c:dispBlanksAs val="gap"/>
    <c:showDLblsOverMax val="0"/>
  </c:chart>
  <c:spPr>
    <a:noFill/>
    <a:ln>
      <a:noFill/>
    </a:ln>
  </c:spPr>
  <c:txPr>
    <a:bodyPr/>
    <a:lstStyle/>
    <a:p>
      <a:pPr>
        <a:defRPr sz="1180" b="1" i="0" u="none" strike="noStrike" baseline="0">
          <a:solidFill>
            <a:schemeClr val="tx1"/>
          </a:solidFill>
          <a:latin typeface="Calibri"/>
          <a:ea typeface="Calibri"/>
          <a:cs typeface="Calibri"/>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157232704402517E-2"/>
          <c:y val="2.7586206896551724E-2"/>
          <c:w val="0.95911949685534592"/>
          <c:h val="0.95517241379310347"/>
        </c:manualLayout>
      </c:layout>
      <c:scatterChart>
        <c:scatterStyle val="lineMarker"/>
        <c:varyColors val="0"/>
        <c:ser>
          <c:idx val="0"/>
          <c:order val="0"/>
          <c:tx>
            <c:strRef>
              <c:f>Sheet1!$B$1</c:f>
              <c:strCache>
                <c:ptCount val="1"/>
              </c:strCache>
            </c:strRef>
          </c:tx>
          <c:spPr>
            <a:ln w="19050" cap="rnd" cmpd="sng" algn="ctr">
              <a:noFill/>
              <a:prstDash val="solid"/>
              <a:round/>
            </a:ln>
            <a:effectLst/>
          </c:spPr>
          <c:marker>
            <c:symbol val="none"/>
          </c:marker>
          <c:trendline>
            <c:spPr>
              <a:ln w="25400" cap="rnd" cmpd="sng" algn="ctr">
                <a:solidFill>
                  <a:schemeClr val="accent2"/>
                </a:solidFill>
                <a:prstDash val="solid"/>
                <a:round/>
              </a:ln>
              <a:effectLst/>
            </c:spPr>
            <c:trendlineType val="linear"/>
            <c:dispRSqr val="0"/>
            <c:dispEq val="0"/>
          </c:trendline>
          <c:xVal>
            <c:numRef>
              <c:f>Sheet1!$A$2:$A$96</c:f>
              <c:numCache>
                <c:formatCode>General</c:formatCode>
                <c:ptCount val="95"/>
                <c:pt idx="0">
                  <c:v>3.0000000000003411</c:v>
                </c:pt>
                <c:pt idx="1">
                  <c:v>4.0000000000004547</c:v>
                </c:pt>
                <c:pt idx="2">
                  <c:v>3.3333333333337118</c:v>
                </c:pt>
                <c:pt idx="3">
                  <c:v>2.166666666666913</c:v>
                </c:pt>
                <c:pt idx="4">
                  <c:v>2.166666666666913</c:v>
                </c:pt>
                <c:pt idx="5">
                  <c:v>2.0000000000002274</c:v>
                </c:pt>
                <c:pt idx="6">
                  <c:v>5.3333333333339397</c:v>
                </c:pt>
                <c:pt idx="7">
                  <c:v>6.0000000000006821</c:v>
                </c:pt>
                <c:pt idx="8">
                  <c:v>1.0000000000001137</c:v>
                </c:pt>
                <c:pt idx="9">
                  <c:v>2.6666666666669698</c:v>
                </c:pt>
                <c:pt idx="10">
                  <c:v>3.0000000000003411</c:v>
                </c:pt>
                <c:pt idx="11">
                  <c:v>4.6666666666671963</c:v>
                </c:pt>
                <c:pt idx="12">
                  <c:v>3.8333333333337687</c:v>
                </c:pt>
                <c:pt idx="13">
                  <c:v>2.0000000000002274</c:v>
                </c:pt>
                <c:pt idx="14">
                  <c:v>2.8333333333336554</c:v>
                </c:pt>
                <c:pt idx="15">
                  <c:v>4.1666666666671395</c:v>
                </c:pt>
                <c:pt idx="16">
                  <c:v>1.0000000000001137</c:v>
                </c:pt>
                <c:pt idx="17">
                  <c:v>3.0000000000003411</c:v>
                </c:pt>
                <c:pt idx="18">
                  <c:v>3.6666666666670835</c:v>
                </c:pt>
                <c:pt idx="19">
                  <c:v>5.0000000000005684</c:v>
                </c:pt>
                <c:pt idx="20">
                  <c:v>6.0000000000006821</c:v>
                </c:pt>
                <c:pt idx="21">
                  <c:v>4.1666666666671395</c:v>
                </c:pt>
                <c:pt idx="22">
                  <c:v>2.0000000000002274</c:v>
                </c:pt>
                <c:pt idx="23">
                  <c:v>5.0000000000005684</c:v>
                </c:pt>
                <c:pt idx="24">
                  <c:v>2.0000000000002274</c:v>
                </c:pt>
                <c:pt idx="25">
                  <c:v>2.0000000000002274</c:v>
                </c:pt>
                <c:pt idx="26">
                  <c:v>2.0000000000002274</c:v>
                </c:pt>
                <c:pt idx="27">
                  <c:v>4.333333333333826</c:v>
                </c:pt>
                <c:pt idx="28">
                  <c:v>3.5000000000003975</c:v>
                </c:pt>
                <c:pt idx="29">
                  <c:v>4.8333333333338828</c:v>
                </c:pt>
                <c:pt idx="30">
                  <c:v>2.3333333333335982</c:v>
                </c:pt>
                <c:pt idx="31">
                  <c:v>4.0000000000004547</c:v>
                </c:pt>
                <c:pt idx="32">
                  <c:v>1.0000000000001137</c:v>
                </c:pt>
                <c:pt idx="33">
                  <c:v>2.0000000000002274</c:v>
                </c:pt>
                <c:pt idx="34">
                  <c:v>3.5000000000003979</c:v>
                </c:pt>
                <c:pt idx="35">
                  <c:v>2.166666666666913</c:v>
                </c:pt>
                <c:pt idx="36">
                  <c:v>2.0000000000002274</c:v>
                </c:pt>
                <c:pt idx="37">
                  <c:v>5.0000000000005684</c:v>
                </c:pt>
                <c:pt idx="38">
                  <c:v>1.3333333333334849</c:v>
                </c:pt>
                <c:pt idx="39">
                  <c:v>4.5000000000005116</c:v>
                </c:pt>
                <c:pt idx="40">
                  <c:v>1.0000000000001137</c:v>
                </c:pt>
                <c:pt idx="41">
                  <c:v>3.8333333333337687</c:v>
                </c:pt>
                <c:pt idx="42">
                  <c:v>5.166666666667254</c:v>
                </c:pt>
                <c:pt idx="43">
                  <c:v>2.3333333333335982</c:v>
                </c:pt>
                <c:pt idx="44">
                  <c:v>3.3333333333337118</c:v>
                </c:pt>
                <c:pt idx="45">
                  <c:v>3.0000000000003411</c:v>
                </c:pt>
                <c:pt idx="46">
                  <c:v>4.333333333333826</c:v>
                </c:pt>
                <c:pt idx="47">
                  <c:v>1.0000000000001137</c:v>
                </c:pt>
                <c:pt idx="48">
                  <c:v>5.5000000000006253</c:v>
                </c:pt>
                <c:pt idx="49">
                  <c:v>4.1666666666671404</c:v>
                </c:pt>
                <c:pt idx="50">
                  <c:v>5.0000000000005684</c:v>
                </c:pt>
                <c:pt idx="51">
                  <c:v>3.0000000000003411</c:v>
                </c:pt>
                <c:pt idx="52">
                  <c:v>3.0000000000003411</c:v>
                </c:pt>
                <c:pt idx="53">
                  <c:v>4.0000000000004547</c:v>
                </c:pt>
                <c:pt idx="54">
                  <c:v>4.0000000000004539</c:v>
                </c:pt>
                <c:pt idx="55">
                  <c:v>1.8333333333335418</c:v>
                </c:pt>
                <c:pt idx="56">
                  <c:v>1.0000000000001137</c:v>
                </c:pt>
                <c:pt idx="57">
                  <c:v>3.0000000000003411</c:v>
                </c:pt>
                <c:pt idx="58">
                  <c:v>3.0000000000003411</c:v>
                </c:pt>
                <c:pt idx="59">
                  <c:v>6.0000000000006821</c:v>
                </c:pt>
                <c:pt idx="60">
                  <c:v>1.0000000000001137</c:v>
                </c:pt>
                <c:pt idx="61">
                  <c:v>3.0000000000003411</c:v>
                </c:pt>
                <c:pt idx="62">
                  <c:v>3.0000000000003411</c:v>
                </c:pt>
                <c:pt idx="63">
                  <c:v>3.0000000000003411</c:v>
                </c:pt>
                <c:pt idx="64">
                  <c:v>2.0000000000002274</c:v>
                </c:pt>
                <c:pt idx="65">
                  <c:v>4.0000000000004547</c:v>
                </c:pt>
                <c:pt idx="66">
                  <c:v>4.0000000000004547</c:v>
                </c:pt>
                <c:pt idx="67">
                  <c:v>3.3333333333337118</c:v>
                </c:pt>
                <c:pt idx="68">
                  <c:v>3.0000000000003411</c:v>
                </c:pt>
                <c:pt idx="69">
                  <c:v>4.0000000000004547</c:v>
                </c:pt>
                <c:pt idx="70">
                  <c:v>1.6666666666668559</c:v>
                </c:pt>
                <c:pt idx="71">
                  <c:v>4.1666666666671395</c:v>
                </c:pt>
                <c:pt idx="72">
                  <c:v>3.8333333333337687</c:v>
                </c:pt>
                <c:pt idx="73">
                  <c:v>5.0000000000005684</c:v>
                </c:pt>
                <c:pt idx="74">
                  <c:v>1.0000000000001137</c:v>
                </c:pt>
                <c:pt idx="75">
                  <c:v>5.0000000000005684</c:v>
                </c:pt>
                <c:pt idx="76">
                  <c:v>3.3333333333337118</c:v>
                </c:pt>
                <c:pt idx="77">
                  <c:v>4.0000000000004547</c:v>
                </c:pt>
                <c:pt idx="78">
                  <c:v>4.333333333333826</c:v>
                </c:pt>
                <c:pt idx="79">
                  <c:v>3.5000000000003979</c:v>
                </c:pt>
                <c:pt idx="80">
                  <c:v>5.0000000000005684</c:v>
                </c:pt>
                <c:pt idx="81">
                  <c:v>6.0000000000006821</c:v>
                </c:pt>
                <c:pt idx="82">
                  <c:v>6.0000000000006821</c:v>
                </c:pt>
                <c:pt idx="83">
                  <c:v>6.0000000000006821</c:v>
                </c:pt>
                <c:pt idx="84">
                  <c:v>2.0000000000002274</c:v>
                </c:pt>
                <c:pt idx="85">
                  <c:v>4.333333333333826</c:v>
                </c:pt>
                <c:pt idx="86">
                  <c:v>1.0000000000001137</c:v>
                </c:pt>
                <c:pt idx="87">
                  <c:v>1.6666666666668559</c:v>
                </c:pt>
                <c:pt idx="88">
                  <c:v>5.0000000000005684</c:v>
                </c:pt>
                <c:pt idx="89">
                  <c:v>4.6666666666671972</c:v>
                </c:pt>
                <c:pt idx="90">
                  <c:v>1.0000000000001137</c:v>
                </c:pt>
                <c:pt idx="91">
                  <c:v>5.0000000000005684</c:v>
                </c:pt>
                <c:pt idx="92">
                  <c:v>3.0000000000003411</c:v>
                </c:pt>
                <c:pt idx="93">
                  <c:v>2.166666666666913</c:v>
                </c:pt>
                <c:pt idx="94">
                  <c:v>2.833333333333655</c:v>
                </c:pt>
              </c:numCache>
            </c:numRef>
          </c:xVal>
          <c:yVal>
            <c:numRef>
              <c:f>Sheet1!$B$2:$B$96</c:f>
              <c:numCache>
                <c:formatCode>General</c:formatCode>
                <c:ptCount val="95"/>
                <c:pt idx="0">
                  <c:v>0.60000000000006815</c:v>
                </c:pt>
                <c:pt idx="1">
                  <c:v>0.60000000000006815</c:v>
                </c:pt>
                <c:pt idx="2">
                  <c:v>0.40000000000004549</c:v>
                </c:pt>
                <c:pt idx="3">
                  <c:v>0.75000000000008527</c:v>
                </c:pt>
                <c:pt idx="4">
                  <c:v>1.0000000000001137</c:v>
                </c:pt>
                <c:pt idx="5">
                  <c:v>0.90000000000010238</c:v>
                </c:pt>
                <c:pt idx="6">
                  <c:v>0</c:v>
                </c:pt>
                <c:pt idx="7">
                  <c:v>0.40000000000004549</c:v>
                </c:pt>
                <c:pt idx="8">
                  <c:v>0.50000000000005684</c:v>
                </c:pt>
                <c:pt idx="9">
                  <c:v>0.50000000000005684</c:v>
                </c:pt>
                <c:pt idx="10">
                  <c:v>0.45000000000005119</c:v>
                </c:pt>
                <c:pt idx="11">
                  <c:v>0.20000000000002274</c:v>
                </c:pt>
                <c:pt idx="12">
                  <c:v>0.80000000000009097</c:v>
                </c:pt>
                <c:pt idx="13">
                  <c:v>0.20000000000002274</c:v>
                </c:pt>
                <c:pt idx="14">
                  <c:v>0.20000000000002274</c:v>
                </c:pt>
                <c:pt idx="15">
                  <c:v>0.40000000000004549</c:v>
                </c:pt>
                <c:pt idx="16">
                  <c:v>0.20000000000002274</c:v>
                </c:pt>
                <c:pt idx="17">
                  <c:v>0.40000000000004549</c:v>
                </c:pt>
                <c:pt idx="18">
                  <c:v>0.80000000000009097</c:v>
                </c:pt>
                <c:pt idx="19">
                  <c:v>0.80000000000009097</c:v>
                </c:pt>
                <c:pt idx="20">
                  <c:v>0.75000000000008527</c:v>
                </c:pt>
                <c:pt idx="21">
                  <c:v>0.60000000000006815</c:v>
                </c:pt>
                <c:pt idx="22">
                  <c:v>0.80000000000009097</c:v>
                </c:pt>
                <c:pt idx="23">
                  <c:v>0.90000000000010238</c:v>
                </c:pt>
                <c:pt idx="24">
                  <c:v>0</c:v>
                </c:pt>
                <c:pt idx="25">
                  <c:v>0.50000000000005684</c:v>
                </c:pt>
                <c:pt idx="26">
                  <c:v>0.30000000000003413</c:v>
                </c:pt>
                <c:pt idx="27">
                  <c:v>0.60000000000006815</c:v>
                </c:pt>
                <c:pt idx="28">
                  <c:v>0.40000000000004549</c:v>
                </c:pt>
                <c:pt idx="29">
                  <c:v>0.80000000000009097</c:v>
                </c:pt>
                <c:pt idx="30">
                  <c:v>0.70000000000007956</c:v>
                </c:pt>
                <c:pt idx="31">
                  <c:v>0.80000000000009097</c:v>
                </c:pt>
                <c:pt idx="32">
                  <c:v>0.20000000000002274</c:v>
                </c:pt>
                <c:pt idx="33">
                  <c:v>0.10000000000001137</c:v>
                </c:pt>
                <c:pt idx="34">
                  <c:v>0.35000000000003983</c:v>
                </c:pt>
                <c:pt idx="35">
                  <c:v>0.60000000000006815</c:v>
                </c:pt>
                <c:pt idx="36">
                  <c:v>0.50000000000005684</c:v>
                </c:pt>
                <c:pt idx="37">
                  <c:v>0</c:v>
                </c:pt>
                <c:pt idx="38">
                  <c:v>0.15000000000001706</c:v>
                </c:pt>
                <c:pt idx="39">
                  <c:v>0.60000000000006815</c:v>
                </c:pt>
                <c:pt idx="40">
                  <c:v>0.50000000000005684</c:v>
                </c:pt>
                <c:pt idx="41">
                  <c:v>0.70000000000007956</c:v>
                </c:pt>
                <c:pt idx="42">
                  <c:v>0.40000000000004549</c:v>
                </c:pt>
                <c:pt idx="43">
                  <c:v>0.80000000000009097</c:v>
                </c:pt>
                <c:pt idx="44">
                  <c:v>0.30000000000003413</c:v>
                </c:pt>
                <c:pt idx="45">
                  <c:v>0.60000000000006815</c:v>
                </c:pt>
                <c:pt idx="46">
                  <c:v>0.80000000000009097</c:v>
                </c:pt>
                <c:pt idx="47">
                  <c:v>0.60000000000006815</c:v>
                </c:pt>
                <c:pt idx="48">
                  <c:v>1.0000000000001137</c:v>
                </c:pt>
                <c:pt idx="49">
                  <c:v>1.0000000000001137</c:v>
                </c:pt>
                <c:pt idx="50">
                  <c:v>0.60000000000006815</c:v>
                </c:pt>
                <c:pt idx="51">
                  <c:v>0.40000000000004549</c:v>
                </c:pt>
                <c:pt idx="52">
                  <c:v>0.20000000000002274</c:v>
                </c:pt>
                <c:pt idx="53">
                  <c:v>0.45000000000005119</c:v>
                </c:pt>
                <c:pt idx="54">
                  <c:v>0.80000000000009097</c:v>
                </c:pt>
                <c:pt idx="55">
                  <c:v>0</c:v>
                </c:pt>
                <c:pt idx="56">
                  <c:v>0</c:v>
                </c:pt>
                <c:pt idx="57">
                  <c:v>0.20000000000002274</c:v>
                </c:pt>
                <c:pt idx="58">
                  <c:v>0.40000000000004549</c:v>
                </c:pt>
                <c:pt idx="59">
                  <c:v>0.60000000000006815</c:v>
                </c:pt>
                <c:pt idx="60">
                  <c:v>0</c:v>
                </c:pt>
                <c:pt idx="61">
                  <c:v>0.20000000000002274</c:v>
                </c:pt>
                <c:pt idx="62">
                  <c:v>0.40000000000004549</c:v>
                </c:pt>
                <c:pt idx="63">
                  <c:v>0.65000000000007396</c:v>
                </c:pt>
                <c:pt idx="64">
                  <c:v>1.0000000000001137</c:v>
                </c:pt>
                <c:pt idx="65">
                  <c:v>0.40000000000004549</c:v>
                </c:pt>
                <c:pt idx="66">
                  <c:v>0.40000000000004549</c:v>
                </c:pt>
                <c:pt idx="67">
                  <c:v>0.70000000000007956</c:v>
                </c:pt>
                <c:pt idx="68">
                  <c:v>0.30000000000003413</c:v>
                </c:pt>
                <c:pt idx="69">
                  <c:v>0.55000000000006255</c:v>
                </c:pt>
                <c:pt idx="70">
                  <c:v>0.75000000000008527</c:v>
                </c:pt>
                <c:pt idx="71">
                  <c:v>0.20000000000002274</c:v>
                </c:pt>
                <c:pt idx="72">
                  <c:v>0.20000000000002274</c:v>
                </c:pt>
                <c:pt idx="73">
                  <c:v>0.60000000000006815</c:v>
                </c:pt>
                <c:pt idx="74">
                  <c:v>0.70000000000007956</c:v>
                </c:pt>
                <c:pt idx="75">
                  <c:v>0.40000000000004549</c:v>
                </c:pt>
                <c:pt idx="76">
                  <c:v>0.30000000000003413</c:v>
                </c:pt>
                <c:pt idx="77">
                  <c:v>0.45000000000005119</c:v>
                </c:pt>
                <c:pt idx="78">
                  <c:v>0.20000000000002274</c:v>
                </c:pt>
                <c:pt idx="79">
                  <c:v>0.55000000000006255</c:v>
                </c:pt>
                <c:pt idx="80">
                  <c:v>0.70000000000007956</c:v>
                </c:pt>
                <c:pt idx="81">
                  <c:v>1.0000000000001137</c:v>
                </c:pt>
                <c:pt idx="82">
                  <c:v>1.0000000000001137</c:v>
                </c:pt>
                <c:pt idx="83">
                  <c:v>0.50000000000005684</c:v>
                </c:pt>
                <c:pt idx="84">
                  <c:v>0.50000000000005684</c:v>
                </c:pt>
                <c:pt idx="85">
                  <c:v>0.85000000000009657</c:v>
                </c:pt>
                <c:pt idx="86">
                  <c:v>0.50000000000005684</c:v>
                </c:pt>
                <c:pt idx="87">
                  <c:v>0.60000000000006815</c:v>
                </c:pt>
                <c:pt idx="88">
                  <c:v>0.60000000000006815</c:v>
                </c:pt>
                <c:pt idx="89">
                  <c:v>1.0000000000001137</c:v>
                </c:pt>
                <c:pt idx="90">
                  <c:v>0</c:v>
                </c:pt>
                <c:pt idx="91">
                  <c:v>0.75000000000008527</c:v>
                </c:pt>
                <c:pt idx="92">
                  <c:v>0.80000000000009097</c:v>
                </c:pt>
                <c:pt idx="93">
                  <c:v>0.20000000000002274</c:v>
                </c:pt>
                <c:pt idx="94">
                  <c:v>0.50000000000005684</c:v>
                </c:pt>
              </c:numCache>
            </c:numRef>
          </c:yVal>
          <c:smooth val="0"/>
          <c:extLst xmlns:c16r2="http://schemas.microsoft.com/office/drawing/2015/06/chart">
            <c:ext xmlns:c16="http://schemas.microsoft.com/office/drawing/2014/chart" uri="{C3380CC4-5D6E-409C-BE32-E72D297353CC}">
              <c16:uniqueId val="{00000001-3320-4C5D-B896-9C3FBC35C3E7}"/>
            </c:ext>
          </c:extLst>
        </c:ser>
        <c:dLbls>
          <c:showLegendKey val="0"/>
          <c:showVal val="0"/>
          <c:showCatName val="0"/>
          <c:showSerName val="0"/>
          <c:showPercent val="0"/>
          <c:showBubbleSize val="0"/>
        </c:dLbls>
        <c:axId val="683102424"/>
        <c:axId val="683108696"/>
      </c:scatterChart>
      <c:valAx>
        <c:axId val="683102424"/>
        <c:scaling>
          <c:orientation val="minMax"/>
          <c:max val="6.5"/>
          <c:min val="0.5"/>
        </c:scaling>
        <c:delete val="0"/>
        <c:axPos val="b"/>
        <c:numFmt formatCode="General" sourceLinked="1"/>
        <c:majorTickMark val="none"/>
        <c:minorTickMark val="none"/>
        <c:tickLblPos val="none"/>
        <c:spPr>
          <a:noFill/>
          <a:ln w="12700" cap="flat" cmpd="sng" algn="ctr">
            <a:solidFill>
              <a:schemeClr val="tx1"/>
            </a:solidFill>
            <a:prstDash val="solid"/>
            <a:round/>
          </a:ln>
          <a:effectLst/>
        </c:spPr>
        <c:txPr>
          <a:bodyPr rot="-60000000" spcFirstLastPara="1" vertOverflow="ellipsis" vert="horz" wrap="square" anchor="ctr" anchorCtr="1"/>
          <a:lstStyle/>
          <a:p>
            <a:pPr>
              <a:defRPr sz="1200" b="1" i="0" u="none" strike="noStrike" kern="1200" baseline="0">
                <a:solidFill>
                  <a:schemeClr val="tx1"/>
                </a:solidFill>
                <a:latin typeface="Calibri"/>
                <a:ea typeface="Calibri"/>
                <a:cs typeface="Calibri"/>
              </a:defRPr>
            </a:pPr>
            <a:endParaRPr lang="en-US"/>
          </a:p>
        </c:txPr>
        <c:crossAx val="683108696"/>
        <c:crossesAt val="0"/>
        <c:crossBetween val="midCat"/>
        <c:majorUnit val="1"/>
      </c:valAx>
      <c:valAx>
        <c:axId val="683108696"/>
        <c:scaling>
          <c:orientation val="minMax"/>
          <c:max val="1"/>
          <c:min val="0"/>
        </c:scaling>
        <c:delete val="0"/>
        <c:axPos val="l"/>
        <c:numFmt formatCode="General" sourceLinked="1"/>
        <c:majorTickMark val="none"/>
        <c:minorTickMark val="none"/>
        <c:tickLblPos val="none"/>
        <c:spPr>
          <a:noFill/>
          <a:ln w="12700" cap="flat" cmpd="sng" algn="ctr">
            <a:solidFill>
              <a:schemeClr val="tx1"/>
            </a:solidFill>
            <a:prstDash val="solid"/>
            <a:round/>
          </a:ln>
          <a:effectLst/>
        </c:spPr>
        <c:txPr>
          <a:bodyPr rot="-60000000" spcFirstLastPara="1" vertOverflow="ellipsis" vert="horz" wrap="square" anchor="ctr" anchorCtr="1"/>
          <a:lstStyle/>
          <a:p>
            <a:pPr>
              <a:defRPr sz="1200" b="1" i="0" u="none" strike="noStrike" kern="1200" baseline="0">
                <a:solidFill>
                  <a:schemeClr val="tx1"/>
                </a:solidFill>
                <a:latin typeface="Calibri"/>
                <a:ea typeface="Calibri"/>
                <a:cs typeface="Calibri"/>
              </a:defRPr>
            </a:pPr>
            <a:endParaRPr lang="en-US"/>
          </a:p>
        </c:txPr>
        <c:crossAx val="683102424"/>
        <c:crossesAt val="0.5"/>
        <c:crossBetween val="midCat"/>
        <c:majorUnit val="0.1"/>
      </c:valAx>
      <c:spPr>
        <a:noFill/>
        <a:ln w="12700">
          <a:solidFill>
            <a:schemeClr val="tx1"/>
          </a:solidFill>
          <a:prstDash val="solid"/>
        </a:ln>
        <a:effectLst/>
      </c:spPr>
    </c:plotArea>
    <c:plotVisOnly val="1"/>
    <c:dispBlanksAs val="gap"/>
    <c:showDLblsOverMax val="0"/>
  </c:chart>
  <c:spPr>
    <a:noFill/>
    <a:ln w="9525" cap="flat" cmpd="sng" algn="ctr">
      <a:noFill/>
      <a:prstDash val="solid"/>
    </a:ln>
    <a:effectLst/>
  </c:spPr>
  <c:txPr>
    <a:bodyPr/>
    <a:lstStyle/>
    <a:p>
      <a:pPr>
        <a:defRPr sz="1200" b="1" i="0" u="none" strike="noStrike" baseline="0">
          <a:solidFill>
            <a:schemeClr val="tx1"/>
          </a:solidFill>
          <a:latin typeface="Calibri"/>
          <a:ea typeface="Calibri"/>
          <a:cs typeface="Calibri"/>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1/8/2019</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1/8/2019</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193154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3</a:t>
            </a:fld>
            <a:endParaRPr lang="en-US" dirty="0"/>
          </a:p>
        </p:txBody>
      </p:sp>
    </p:spTree>
    <p:extLst>
      <p:ext uri="{BB962C8B-B14F-4D97-AF65-F5344CB8AC3E}">
        <p14:creationId xmlns:p14="http://schemas.microsoft.com/office/powerpoint/2010/main" val="31440011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4</a:t>
            </a:fld>
            <a:endParaRPr lang="en-US" dirty="0"/>
          </a:p>
        </p:txBody>
      </p:sp>
    </p:spTree>
    <p:extLst>
      <p:ext uri="{BB962C8B-B14F-4D97-AF65-F5344CB8AC3E}">
        <p14:creationId xmlns:p14="http://schemas.microsoft.com/office/powerpoint/2010/main" val="38983750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4</a:t>
            </a:fld>
            <a:endParaRPr lang="en-US" dirty="0"/>
          </a:p>
        </p:txBody>
      </p:sp>
    </p:spTree>
    <p:extLst>
      <p:ext uri="{BB962C8B-B14F-4D97-AF65-F5344CB8AC3E}">
        <p14:creationId xmlns:p14="http://schemas.microsoft.com/office/powerpoint/2010/main" val="24640952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5</a:t>
            </a:fld>
            <a:endParaRPr lang="en-US" dirty="0">
              <a:solidFill>
                <a:prstClr val="black"/>
              </a:solidFill>
            </a:endParaRPr>
          </a:p>
        </p:txBody>
      </p:sp>
    </p:spTree>
    <p:extLst>
      <p:ext uri="{BB962C8B-B14F-4D97-AF65-F5344CB8AC3E}">
        <p14:creationId xmlns:p14="http://schemas.microsoft.com/office/powerpoint/2010/main" val="34576337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8</a:t>
            </a:fld>
            <a:endParaRPr lang="en-US" dirty="0"/>
          </a:p>
        </p:txBody>
      </p:sp>
    </p:spTree>
    <p:extLst>
      <p:ext uri="{BB962C8B-B14F-4D97-AF65-F5344CB8AC3E}">
        <p14:creationId xmlns:p14="http://schemas.microsoft.com/office/powerpoint/2010/main" val="16751021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20</a:t>
            </a:fld>
            <a:endParaRPr lang="en-US" dirty="0"/>
          </a:p>
        </p:txBody>
      </p:sp>
    </p:spTree>
    <p:extLst>
      <p:ext uri="{BB962C8B-B14F-4D97-AF65-F5344CB8AC3E}">
        <p14:creationId xmlns:p14="http://schemas.microsoft.com/office/powerpoint/2010/main" val="415142134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0" y="6090046"/>
            <a:ext cx="9144000" cy="767954"/>
            <a:chOff x="0" y="6090046"/>
            <a:chExt cx="9144000" cy="767954"/>
          </a:xfrm>
        </p:grpSpPr>
        <p:sp>
          <p:nvSpPr>
            <p:cNvPr id="29" name="Rectangle 28"/>
            <p:cNvSpPr/>
            <p:nvPr/>
          </p:nvSpPr>
          <p:spPr>
            <a:xfrm>
              <a:off x="0" y="6090046"/>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9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a:t>Headline (Georgia, 28pt)</a:t>
            </a:r>
            <a:endParaRPr lang="en-CA"/>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a:t>Subhead (Arial, 14pt)</a:t>
            </a:r>
          </a:p>
        </p:txBody>
      </p:sp>
    </p:spTree>
    <p:extLst>
      <p:ext uri="{BB962C8B-B14F-4D97-AF65-F5344CB8AC3E}">
        <p14:creationId xmlns:p14="http://schemas.microsoft.com/office/powerpoint/2010/main" val="1463241010"/>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a:t>Case study title</a:t>
            </a:r>
            <a:endParaRPr lang="en-CA"/>
          </a:p>
        </p:txBody>
      </p:sp>
    </p:spTree>
    <p:extLst>
      <p:ext uri="{BB962C8B-B14F-4D97-AF65-F5344CB8AC3E}">
        <p14:creationId xmlns:p14="http://schemas.microsoft.com/office/powerpoint/2010/main" val="27507134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9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a:t>Replace with Phase Title</a:t>
            </a:r>
            <a:endParaRPr lang="en-US"/>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a:solidFill>
                  <a:schemeClr val="accent1"/>
                </a:solidFill>
              </a:rPr>
              <a:t>PHASE</a:t>
            </a: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a:t>#</a:t>
            </a:r>
            <a:endParaRPr lang="en-US"/>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a:t>Blueprint Title</a:t>
            </a:r>
          </a:p>
        </p:txBody>
      </p:sp>
    </p:spTree>
    <p:extLst>
      <p:ext uri="{BB962C8B-B14F-4D97-AF65-F5344CB8AC3E}">
        <p14:creationId xmlns:p14="http://schemas.microsoft.com/office/powerpoint/2010/main" val="40650190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s part of an 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a:solidFill>
                  <a:srgbClr val="FFFFFF"/>
                </a:solidFill>
              </a:rPr>
              <a:t>Book a workshop with our Info-Tech analysts:</a:t>
            </a:r>
          </a:p>
        </p:txBody>
      </p:sp>
    </p:spTree>
    <p:extLst>
      <p:ext uri="{BB962C8B-B14F-4D97-AF65-F5344CB8AC3E}">
        <p14:creationId xmlns:p14="http://schemas.microsoft.com/office/powerpoint/2010/main" val="3322233447"/>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Brief slide</a:t>
            </a:r>
            <a:endParaRPr lang="en-CA"/>
          </a:p>
        </p:txBody>
      </p:sp>
    </p:spTree>
    <p:extLst>
      <p:ext uri="{BB962C8B-B14F-4D97-AF65-F5344CB8AC3E}">
        <p14:creationId xmlns:p14="http://schemas.microsoft.com/office/powerpoint/2010/main" val="11898192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4" name="Rectangle 23"/>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a:t>Page header</a:t>
            </a:r>
            <a:endParaRPr lang="en-CA"/>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a:t>First Level (Arial, 14pt)</a:t>
            </a:r>
          </a:p>
          <a:p>
            <a:pPr lvl="1"/>
            <a:r>
              <a:rPr lang="en-US"/>
              <a:t>Second Level (Arial, 14pt)</a:t>
            </a:r>
          </a:p>
          <a:p>
            <a:pPr lvl="2"/>
            <a:r>
              <a:rPr lang="en-US"/>
              <a:t>Third Level (Arial, 14pt)</a:t>
            </a:r>
          </a:p>
          <a:p>
            <a:pPr lvl="3"/>
            <a:r>
              <a:rPr lang="en-US"/>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ssist:</a:t>
            </a: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a:t>First Level (Arial, 14pt)</a:t>
            </a:r>
          </a:p>
          <a:p>
            <a:pPr lvl="1"/>
            <a:r>
              <a:rPr lang="en-US"/>
              <a:t>Second Level (Arial, 14pt)</a:t>
            </a:r>
          </a:p>
          <a:p>
            <a:pPr lvl="2"/>
            <a:r>
              <a:rPr lang="en-US"/>
              <a:t>Third Level (Arial, 14pt)</a:t>
            </a:r>
          </a:p>
          <a:p>
            <a:pPr lvl="3"/>
            <a:r>
              <a:rPr lang="en-US"/>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a:t>First Level (Arial, 14pt)</a:t>
            </a:r>
          </a:p>
          <a:p>
            <a:pPr lvl="1"/>
            <a:r>
              <a:rPr lang="en-US"/>
              <a:t>Second Level (Arial, 14pt)</a:t>
            </a:r>
          </a:p>
          <a:p>
            <a:pPr lvl="2"/>
            <a:r>
              <a:rPr lang="en-US"/>
              <a:t>Third Level (Arial, 14pt)</a:t>
            </a:r>
          </a:p>
          <a:p>
            <a:pPr lvl="3"/>
            <a:r>
              <a:rPr lang="en-US"/>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a:t>First Level (Arial, 14pt)</a:t>
            </a:r>
          </a:p>
          <a:p>
            <a:pPr lvl="1"/>
            <a:r>
              <a:rPr lang="en-US"/>
              <a:t>Second Level (Arial, 14pt)</a:t>
            </a:r>
          </a:p>
          <a:p>
            <a:pPr lvl="2"/>
            <a:r>
              <a:rPr lang="en-US"/>
              <a:t>Third Level (Arial, 14pt)</a:t>
            </a:r>
          </a:p>
          <a:p>
            <a:pPr lvl="3"/>
            <a:r>
              <a:rPr lang="en-US"/>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lso Assist:</a:t>
            </a:r>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Them:</a:t>
            </a:r>
          </a:p>
        </p:txBody>
      </p:sp>
    </p:spTree>
    <p:extLst>
      <p:ext uri="{BB962C8B-B14F-4D97-AF65-F5344CB8AC3E}">
        <p14:creationId xmlns:p14="http://schemas.microsoft.com/office/powerpoint/2010/main" val="32668234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5" name="Rectangle 14"/>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summary</a:t>
            </a:r>
          </a:p>
        </p:txBody>
      </p:sp>
      <p:sp>
        <p:nvSpPr>
          <p:cNvPr id="9" name="Rectangle 8"/>
          <p:cNvSpPr/>
          <p:nvPr userDrawn="1"/>
        </p:nvSpPr>
        <p:spPr>
          <a:xfrm>
            <a:off x="255868" y="4734686"/>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Situation</a:t>
            </a:r>
          </a:p>
        </p:txBody>
      </p:sp>
      <p:sp>
        <p:nvSpPr>
          <p:cNvPr id="11" name="Rectangle 10"/>
          <p:cNvSpPr/>
          <p:nvPr userDrawn="1"/>
        </p:nvSpPr>
        <p:spPr>
          <a:xfrm>
            <a:off x="247848" y="2965518"/>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19"/>
          <p:cNvSpPr>
            <a:spLocks noGrp="1"/>
          </p:cNvSpPr>
          <p:nvPr userDrawn="1">
            <p:ph type="body" sz="quarter" idx="12"/>
          </p:nvPr>
        </p:nvSpPr>
        <p:spPr>
          <a:xfrm>
            <a:off x="255868" y="5138057"/>
            <a:ext cx="8623607" cy="1183034"/>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13611" y="4785660"/>
            <a:ext cx="206861" cy="206861"/>
          </a:xfrm>
          <a:prstGeom prst="rect">
            <a:avLst/>
          </a:prstGeom>
        </p:spPr>
      </p:pic>
      <p:pic>
        <p:nvPicPr>
          <p:cNvPr id="3" name="Pictur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218173" y="3014726"/>
            <a:ext cx="211099" cy="211099"/>
          </a:xfrm>
          <a:prstGeom prst="rect">
            <a:avLst/>
          </a:prstGeom>
        </p:spPr>
      </p:pic>
      <p:pic>
        <p:nvPicPr>
          <p:cNvPr id="19" name="Picture 1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37241" y="1189086"/>
            <a:ext cx="3096774" cy="286513"/>
          </a:xfrm>
          <a:prstGeom prst="rect">
            <a:avLst/>
          </a:prstGeom>
        </p:spPr>
      </p:pic>
    </p:spTree>
    <p:extLst>
      <p:ext uri="{BB962C8B-B14F-4D97-AF65-F5344CB8AC3E}">
        <p14:creationId xmlns:p14="http://schemas.microsoft.com/office/powerpoint/2010/main" val="16683645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7" name="Rectangle 16"/>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a:t>Three sections</a:t>
            </a:r>
          </a:p>
        </p:txBody>
      </p:sp>
      <p:sp>
        <p:nvSpPr>
          <p:cNvPr id="13" name="Text Placeholder 12"/>
          <p:cNvSpPr>
            <a:spLocks noGrp="1"/>
          </p:cNvSpPr>
          <p:nvPr>
            <p:ph type="body" sz="quarter" idx="13"/>
          </p:nvPr>
        </p:nvSpPr>
        <p:spPr>
          <a:xfrm>
            <a:off x="266219" y="1546727"/>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407735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6" name="Rectangle 15"/>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a:t>Deliverables Completed</a:t>
            </a:r>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a:t>Processes Optimized</a:t>
            </a:r>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a:t>Knowledge Gained</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a:t>Two small sections, one large</a:t>
            </a:r>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25136856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a:t>Page Header (Georgia, 24pt) </a:t>
            </a:r>
            <a:endParaRPr lang="en-CA"/>
          </a:p>
        </p:txBody>
      </p:sp>
    </p:spTree>
    <p:extLst>
      <p:ext uri="{BB962C8B-B14F-4D97-AF65-F5344CB8AC3E}">
        <p14:creationId xmlns:p14="http://schemas.microsoft.com/office/powerpoint/2010/main" val="4786140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a:t>Page Header (Georgia, 24pt) </a:t>
            </a:r>
            <a:endParaRPr lang="en-CA"/>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a:t>#</a:t>
            </a:r>
          </a:p>
        </p:txBody>
      </p:sp>
    </p:spTree>
    <p:extLst>
      <p:ext uri="{BB962C8B-B14F-4D97-AF65-F5344CB8AC3E}">
        <p14:creationId xmlns:p14="http://schemas.microsoft.com/office/powerpoint/2010/main" val="1648397122"/>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9474479"/>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2"/>
            <a:r>
              <a:rPr lang="en-US"/>
              <a:t>Third Level</a:t>
            </a:r>
          </a:p>
          <a:p>
            <a:pPr lvl="3"/>
            <a:r>
              <a:rPr lang="en-US"/>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a:solidFill>
                  <a:srgbClr val="FFFFFF"/>
                </a:solidFill>
              </a:rPr>
              <a:t>Info-Tech Research Group</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2404433134"/>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6" r:id="rId9"/>
    <p:sldLayoutId id="2147483779" r:id="rId10"/>
    <p:sldLayoutId id="2147483780" r:id="rId11"/>
    <p:sldLayoutId id="2147483781" r:id="rId12"/>
  </p:sldLayoutIdLst>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35.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chart" Target="../charts/chart3.xml"/></Relationships>
</file>

<file path=ppt/slides/_rels/slide13.xml.rels><?xml version="1.0" encoding="UTF-8" standalone="yes"?>
<Relationships xmlns="http://schemas.openxmlformats.org/package/2006/relationships"><Relationship Id="rId3" Type="http://schemas.openxmlformats.org/officeDocument/2006/relationships/hyperlink" Target="http://www.infotech.com/research/ss/implement-crisis-management-best-practices" TargetMode="External"/><Relationship Id="rId2" Type="http://schemas.openxmlformats.org/officeDocument/2006/relationships/hyperlink" Target="http://www.infotech.com/research/ss/it-develop-a-business-continuity-plan"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hyperlink" Target="https://www.infotech.com/research/case-study-practical-right-sized-drp" TargetMode="External"/><Relationship Id="rId3" Type="http://schemas.openxmlformats.org/officeDocument/2006/relationships/hyperlink" Target="https://www.infotech.com/research/drp-maturity-scorecard" TargetMode="External"/><Relationship Id="rId7" Type="http://schemas.openxmlformats.org/officeDocument/2006/relationships/hyperlink" Target="https://www.infotech.com/research/bcp-drp-fitness-assessment"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hyperlink" Target="https://www.infotech.com/research/ss/create-a-right-sized-disaster-recovery-plan/drp-incident-response-plan-flowchart-template" TargetMode="External"/><Relationship Id="rId11" Type="http://schemas.openxmlformats.org/officeDocument/2006/relationships/hyperlink" Target="https://www.infotech.com/research/drp-bia-scoring-context-example" TargetMode="External"/><Relationship Id="rId5" Type="http://schemas.openxmlformats.org/officeDocument/2006/relationships/hyperlink" Target="https://www.infotech.com/research/drp-project-roadmap-tool" TargetMode="External"/><Relationship Id="rId10" Type="http://schemas.openxmlformats.org/officeDocument/2006/relationships/hyperlink" Target="https://www.infotech.com/research/drp-recap-and-results-template" TargetMode="External"/><Relationship Id="rId4" Type="http://schemas.openxmlformats.org/officeDocument/2006/relationships/hyperlink" Target="https://www.infotech.com/research/drp-business-impact-analysis-tool" TargetMode="External"/><Relationship Id="rId9" Type="http://schemas.openxmlformats.org/officeDocument/2006/relationships/hyperlink" Target="https://www.infotech.com/research/drp-project-charter-template"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mailto:WorkshopBooking@InfoTech.com"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2.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image" Target="../media/image15.png"/><Relationship Id="rId2" Type="http://schemas.openxmlformats.org/officeDocument/2006/relationships/tags" Target="../tags/tag2.xml"/><Relationship Id="rId16" Type="http://schemas.openxmlformats.org/officeDocument/2006/relationships/image" Target="../media/image14.emf"/><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oleObject" Target="../embeddings/oleObject1.bin"/><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chart" Target="../charts/chart1.xml"/></Relationships>
</file>

<file path=ppt/slides/_rels/slide9.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tags" Target="../tags/tag30.xml"/><Relationship Id="rId26" Type="http://schemas.openxmlformats.org/officeDocument/2006/relationships/image" Target="../media/image15.png"/><Relationship Id="rId3" Type="http://schemas.openxmlformats.org/officeDocument/2006/relationships/tags" Target="../tags/tag15.xml"/><Relationship Id="rId21" Type="http://schemas.openxmlformats.org/officeDocument/2006/relationships/tags" Target="../tags/tag33.xm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image" Target="../media/image16.png"/><Relationship Id="rId2" Type="http://schemas.openxmlformats.org/officeDocument/2006/relationships/tags" Target="../tags/tag14.xml"/><Relationship Id="rId16" Type="http://schemas.openxmlformats.org/officeDocument/2006/relationships/tags" Target="../tags/tag28.xml"/><Relationship Id="rId20" Type="http://schemas.openxmlformats.org/officeDocument/2006/relationships/tags" Target="../tags/tag32.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chart" Target="../charts/chart2.xml"/><Relationship Id="rId5" Type="http://schemas.openxmlformats.org/officeDocument/2006/relationships/tags" Target="../tags/tag17.xml"/><Relationship Id="rId15" Type="http://schemas.openxmlformats.org/officeDocument/2006/relationships/tags" Target="../tags/tag27.xml"/><Relationship Id="rId23" Type="http://schemas.openxmlformats.org/officeDocument/2006/relationships/slideLayout" Target="../slideLayouts/slideLayout2.xml"/><Relationship Id="rId10" Type="http://schemas.openxmlformats.org/officeDocument/2006/relationships/tags" Target="../tags/tag22.xml"/><Relationship Id="rId19" Type="http://schemas.openxmlformats.org/officeDocument/2006/relationships/tags" Target="../tags/tag31.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tags" Target="../tags/tag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p:txBody>
          <a:bodyPr/>
          <a:lstStyle/>
          <a:p>
            <a:r>
              <a:rPr lang="en-US" dirty="0"/>
              <a:t>Create a Right-Sized Disaster Recovery Plan</a:t>
            </a:r>
          </a:p>
        </p:txBody>
      </p:sp>
      <p:sp>
        <p:nvSpPr>
          <p:cNvPr id="5" name="Tagline"/>
          <p:cNvSpPr>
            <a:spLocks noGrp="1"/>
          </p:cNvSpPr>
          <p:nvPr>
            <p:ph type="body" sz="quarter" idx="16"/>
          </p:nvPr>
        </p:nvSpPr>
        <p:spPr/>
        <p:txBody>
          <a:bodyPr/>
          <a:lstStyle/>
          <a:p>
            <a:r>
              <a:rPr lang="en-US" dirty="0"/>
              <a:t>Close the gap between your DR capabilities and service continuity requirements.</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37613" y="4160854"/>
            <a:ext cx="2280102" cy="1798476"/>
          </a:xfrm>
          <a:prstGeom prst="rect">
            <a:avLst/>
          </a:prstGeom>
        </p:spPr>
      </p:pic>
    </p:spTree>
    <p:extLst>
      <p:ext uri="{BB962C8B-B14F-4D97-AF65-F5344CB8AC3E}">
        <p14:creationId xmlns:p14="http://schemas.microsoft.com/office/powerpoint/2010/main" val="13836946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8">
            <a:extLst>
              <a:ext uri="{FF2B5EF4-FFF2-40B4-BE49-F238E27FC236}">
                <a16:creationId xmlns:a16="http://schemas.microsoft.com/office/drawing/2014/main" xmlns="" id="{176A6380-5BF2-40A2-B7CE-939FC02BABAE}"/>
              </a:ext>
            </a:extLst>
          </p:cNvPr>
          <p:cNvGrpSpPr/>
          <p:nvPr/>
        </p:nvGrpSpPr>
        <p:grpSpPr>
          <a:xfrm>
            <a:off x="257174" y="1283082"/>
            <a:ext cx="8756373" cy="4202606"/>
            <a:chOff x="257173" y="2104409"/>
            <a:chExt cx="8756373" cy="4202606"/>
          </a:xfrm>
        </p:grpSpPr>
        <p:pic>
          <p:nvPicPr>
            <p:cNvPr id="7" name="Picture 9"/>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745296" y="3407866"/>
              <a:ext cx="2268250" cy="2899149"/>
            </a:xfrm>
            <a:prstGeom prst="rect">
              <a:avLst/>
            </a:prstGeom>
          </p:spPr>
        </p:pic>
        <p:sp>
          <p:nvSpPr>
            <p:cNvPr id="3" name="Text Placeholder 1"/>
            <p:cNvSpPr txBox="1">
              <a:spLocks/>
            </p:cNvSpPr>
            <p:nvPr/>
          </p:nvSpPr>
          <p:spPr bwMode="auto">
            <a:xfrm>
              <a:off x="257173" y="2104409"/>
              <a:ext cx="6807203" cy="420260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Font typeface="Arial" pitchFamily="34" charset="0"/>
                <a:buNone/>
              </a:pPr>
              <a:r>
                <a:rPr lang="en-US" sz="1600" dirty="0"/>
                <a:t>The traditional approach to DR starts with an in-depth exercise to identify risks to IT service continuity and the probability that those risks will occur. </a:t>
              </a:r>
            </a:p>
            <a:p>
              <a:pPr marL="0" indent="0">
                <a:spcBef>
                  <a:spcPts val="600"/>
                </a:spcBef>
                <a:spcAft>
                  <a:spcPts val="600"/>
                </a:spcAft>
                <a:buFont typeface="Arial" pitchFamily="34" charset="0"/>
                <a:buNone/>
              </a:pPr>
              <a:r>
                <a:rPr lang="en-US" sz="1600" b="1" dirty="0"/>
                <a:t>Here’s why starting with a risk register is ineffective:</a:t>
              </a:r>
            </a:p>
            <a:p>
              <a:pPr marL="285750" indent="-285750">
                <a:spcBef>
                  <a:spcPts val="600"/>
                </a:spcBef>
                <a:spcAft>
                  <a:spcPts val="600"/>
                </a:spcAft>
              </a:pPr>
              <a:r>
                <a:rPr lang="en-US" sz="1300" dirty="0"/>
                <a:t>Odds are, you won’t think of every incident that might occur. If you think of twenty risks, it’ll be the twenty-first that gets you. If you try to guard against that twenty-first risk, you can quickly get into cartoonish scenarios and much more costly solutions.</a:t>
              </a:r>
            </a:p>
            <a:p>
              <a:pPr marL="285750" indent="-285750">
                <a:spcBef>
                  <a:spcPts val="600"/>
                </a:spcBef>
                <a:spcAft>
                  <a:spcPts val="600"/>
                </a:spcAft>
              </a:pPr>
              <a:r>
                <a:rPr lang="en-US" sz="1300" dirty="0"/>
                <a:t>The ability to failover to another site mitigates the risk of most (if not all) incidents (fire, flood, hardware failure, tornado, etc.). A risk and probability analysis doesn’t change the need for a plan that includes a failover procedure.</a:t>
              </a:r>
            </a:p>
            <a:p>
              <a:pPr marL="0" indent="0">
                <a:spcBef>
                  <a:spcPts val="600"/>
                </a:spcBef>
                <a:spcAft>
                  <a:spcPts val="600"/>
                </a:spcAft>
                <a:buNone/>
              </a:pPr>
              <a:r>
                <a:rPr lang="en-US" sz="1400" b="1" dirty="0"/>
                <a:t>Where risk is incorporated in this methodology: </a:t>
              </a:r>
            </a:p>
            <a:p>
              <a:pPr>
                <a:spcBef>
                  <a:spcPts val="600"/>
                </a:spcBef>
                <a:spcAft>
                  <a:spcPts val="600"/>
                </a:spcAft>
              </a:pPr>
              <a:r>
                <a:rPr lang="en-US" sz="1300" dirty="0"/>
                <a:t>Use known risks to further refine your strategy (e.g. if you are prone to hurricanes, plan for greater geographic separation between sites; ensure you have backups, in addition to replication, to mitigate the risk of ransomware). </a:t>
              </a:r>
            </a:p>
            <a:p>
              <a:pPr>
                <a:spcBef>
                  <a:spcPts val="600"/>
                </a:spcBef>
                <a:spcAft>
                  <a:spcPts val="600"/>
                </a:spcAft>
              </a:pPr>
              <a:r>
                <a:rPr lang="en-US" sz="1300" dirty="0"/>
                <a:t>Identify risks to your ability to execute DR (e.g. lack of cross-training, backups that are not tested) and take steps to mitigate those risks.</a:t>
              </a:r>
            </a:p>
          </p:txBody>
        </p:sp>
      </p:grpSp>
      <p:sp>
        <p:nvSpPr>
          <p:cNvPr id="4" name="Title 3"/>
          <p:cNvSpPr>
            <a:spLocks noGrp="1"/>
          </p:cNvSpPr>
          <p:nvPr>
            <p:ph type="title"/>
          </p:nvPr>
        </p:nvSpPr>
        <p:spPr/>
        <p:txBody>
          <a:bodyPr/>
          <a:lstStyle/>
          <a:p>
            <a:r>
              <a:rPr lang="en-CA" dirty="0"/>
              <a:t>DR isn’t about identifying risks; it’s about ensuring service </a:t>
            </a:r>
            <a:r>
              <a:rPr lang="en-CA" dirty="0" smtClean="0"/>
              <a:t>continuity</a:t>
            </a:r>
            <a:endParaRPr lang="en-CA" dirty="0"/>
          </a:p>
        </p:txBody>
      </p:sp>
      <p:grpSp>
        <p:nvGrpSpPr>
          <p:cNvPr id="6" name="Group 13">
            <a:extLst>
              <a:ext uri="{FF2B5EF4-FFF2-40B4-BE49-F238E27FC236}">
                <a16:creationId xmlns:a16="http://schemas.microsoft.com/office/drawing/2014/main" xmlns="" id="{F8900C39-BAA0-41E6-93BF-328F80371721}"/>
              </a:ext>
            </a:extLst>
          </p:cNvPr>
          <p:cNvGrpSpPr/>
          <p:nvPr/>
        </p:nvGrpSpPr>
        <p:grpSpPr>
          <a:xfrm>
            <a:off x="-35799" y="5289293"/>
            <a:ext cx="8913098" cy="1444877"/>
            <a:chOff x="-30144" y="917704"/>
            <a:chExt cx="8913098" cy="1444877"/>
          </a:xfrm>
        </p:grpSpPr>
        <p:sp>
          <p:nvSpPr>
            <p:cNvPr id="2" name="Title 2"/>
            <p:cNvSpPr txBox="1">
              <a:spLocks/>
            </p:cNvSpPr>
            <p:nvPr/>
          </p:nvSpPr>
          <p:spPr>
            <a:xfrm>
              <a:off x="257174" y="1361503"/>
              <a:ext cx="8625780" cy="412590"/>
            </a:xfrm>
            <a:prstGeom prst="rect">
              <a:avLst/>
            </a:prstGeom>
            <a:solidFill>
              <a:schemeClr val="bg1">
                <a:lumMod val="95000"/>
              </a:schemeClr>
            </a:solidFill>
            <a:ln w="28575">
              <a:noFill/>
            </a:ln>
          </p:spPr>
          <p:txBody>
            <a:bodyPr anchor="ctr"/>
            <a:lst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r">
                <a:spcAft>
                  <a:spcPts val="1200"/>
                </a:spcAft>
              </a:pPr>
              <a:r>
                <a:rPr lang="en-US" sz="1800" i="1" dirty="0">
                  <a:solidFill>
                    <a:srgbClr val="C00000"/>
                  </a:solidFill>
                  <a:latin typeface="+mn-lt"/>
                </a:rPr>
                <a:t>A risk register is the critical first step to creating an effective DR plan.</a:t>
              </a:r>
            </a:p>
          </p:txBody>
        </p:sp>
        <p:pic>
          <p:nvPicPr>
            <p:cNvPr id="8" name="Picture 15"/>
            <p:cNvPicPr>
              <a:picLocks noChangeAspect="1"/>
            </p:cNvPicPr>
            <p:nvPr/>
          </p:nvPicPr>
          <p:blipFill>
            <a:blip r:embed="rId3"/>
            <a:stretch>
              <a:fillRect/>
            </a:stretch>
          </p:blipFill>
          <p:spPr>
            <a:xfrm>
              <a:off x="-30144" y="917704"/>
              <a:ext cx="1633870" cy="1444877"/>
            </a:xfrm>
            <a:prstGeom prst="rect">
              <a:avLst/>
            </a:prstGeom>
          </p:spPr>
        </p:pic>
      </p:grpSp>
    </p:spTree>
    <p:extLst>
      <p:ext uri="{BB962C8B-B14F-4D97-AF65-F5344CB8AC3E}">
        <p14:creationId xmlns:p14="http://schemas.microsoft.com/office/powerpoint/2010/main" val="10253241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txBox="1">
            <a:spLocks/>
          </p:cNvSpPr>
          <p:nvPr/>
        </p:nvSpPr>
        <p:spPr bwMode="auto">
          <a:xfrm>
            <a:off x="266702" y="1261160"/>
            <a:ext cx="6606372" cy="443118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300"/>
              </a:spcAft>
              <a:buFont typeface="Arial" pitchFamily="34" charset="0"/>
              <a:buNone/>
            </a:pPr>
            <a:r>
              <a:rPr lang="en-US" sz="1600" dirty="0"/>
              <a:t>Outsourcing infrastructure services – to a cloud provider, co-location provider, or </a:t>
            </a:r>
            <a:r>
              <a:rPr lang="en-US" sz="1600" dirty="0" smtClean="0"/>
              <a:t>managed service provider (MSP) </a:t>
            </a:r>
            <a:r>
              <a:rPr lang="en-US" sz="1600" dirty="0"/>
              <a:t>– can improve your DR and service continuity capabilities. For example, a large public cloud provider will generally have:</a:t>
            </a:r>
          </a:p>
          <a:p>
            <a:pPr>
              <a:spcBef>
                <a:spcPts val="600"/>
              </a:spcBef>
              <a:spcAft>
                <a:spcPts val="300"/>
              </a:spcAft>
            </a:pPr>
            <a:r>
              <a:rPr lang="en-US" sz="1400" dirty="0"/>
              <a:t>Redundant telecoms service providers, network infrastructure, power feeds, and standby power.</a:t>
            </a:r>
          </a:p>
          <a:p>
            <a:pPr>
              <a:spcBef>
                <a:spcPts val="600"/>
              </a:spcBef>
              <a:spcAft>
                <a:spcPts val="300"/>
              </a:spcAft>
            </a:pPr>
            <a:r>
              <a:rPr lang="en-US" sz="1400" dirty="0"/>
              <a:t>Round-the-clock infrastructure and security monitoring.</a:t>
            </a:r>
          </a:p>
          <a:p>
            <a:pPr>
              <a:spcBef>
                <a:spcPts val="600"/>
              </a:spcBef>
              <a:spcAft>
                <a:spcPts val="600"/>
              </a:spcAft>
            </a:pPr>
            <a:r>
              <a:rPr lang="en-US" sz="1400" dirty="0"/>
              <a:t>Multiple data centers in a given region, and options to replicate data and services across regions.</a:t>
            </a:r>
          </a:p>
          <a:p>
            <a:pPr marL="0" indent="0">
              <a:spcBef>
                <a:spcPts val="600"/>
              </a:spcBef>
              <a:spcAft>
                <a:spcPts val="300"/>
              </a:spcAft>
              <a:buNone/>
            </a:pPr>
            <a:r>
              <a:rPr lang="en-US" sz="1400" dirty="0"/>
              <a:t>Still, </a:t>
            </a:r>
            <a:r>
              <a:rPr lang="en-US" sz="1400" b="1" dirty="0"/>
              <a:t>failure is inevitable –</a:t>
            </a:r>
            <a:r>
              <a:rPr lang="en-US" sz="1400" dirty="0" smtClean="0"/>
              <a:t> </a:t>
            </a:r>
            <a:r>
              <a:rPr lang="en-US" sz="1400" dirty="0"/>
              <a:t>it’s been demonstrated multiple </a:t>
            </a:r>
            <a:r>
              <a:rPr lang="en-US" sz="1400" dirty="0" smtClean="0"/>
              <a:t>times</a:t>
            </a:r>
            <a:r>
              <a:rPr lang="en-US" sz="1400" baseline="30000" dirty="0" smtClean="0"/>
              <a:t>1</a:t>
            </a:r>
            <a:r>
              <a:rPr lang="en-US" sz="1400" dirty="0" smtClean="0"/>
              <a:t> </a:t>
            </a:r>
            <a:r>
              <a:rPr lang="en-US" sz="1400" dirty="0"/>
              <a:t>through high-profile outages. When you surrender direct control of the systems themselves, it’s your responsibility to ensure the vendor can meet your DR requirements, including:</a:t>
            </a:r>
          </a:p>
          <a:p>
            <a:pPr>
              <a:spcBef>
                <a:spcPts val="600"/>
              </a:spcBef>
              <a:spcAft>
                <a:spcPts val="300"/>
              </a:spcAft>
            </a:pPr>
            <a:r>
              <a:rPr lang="en-US" sz="1400" dirty="0"/>
              <a:t>A DR site and acceptable recovery times for systems at that site.</a:t>
            </a:r>
          </a:p>
          <a:p>
            <a:pPr>
              <a:spcBef>
                <a:spcPts val="600"/>
              </a:spcBef>
              <a:spcAft>
                <a:spcPts val="300"/>
              </a:spcAft>
            </a:pPr>
            <a:r>
              <a:rPr lang="en-US" sz="1400" dirty="0"/>
              <a:t>An acceptable replication/backup schedule</a:t>
            </a:r>
            <a:r>
              <a:rPr lang="en-US" sz="1400" dirty="0" smtClean="0"/>
              <a:t>.</a:t>
            </a:r>
          </a:p>
          <a:p>
            <a:pPr marL="0" indent="0">
              <a:spcBef>
                <a:spcPts val="600"/>
              </a:spcBef>
              <a:spcAft>
                <a:spcPts val="300"/>
              </a:spcAft>
              <a:buNone/>
            </a:pPr>
            <a:r>
              <a:rPr lang="en-US" sz="1000" b="1" dirty="0"/>
              <a:t>Sources: </a:t>
            </a:r>
            <a:r>
              <a:rPr lang="en-US" sz="1000" baseline="30000" dirty="0"/>
              <a:t>1</a:t>
            </a:r>
            <a:r>
              <a:rPr lang="en-US" sz="1000" dirty="0"/>
              <a:t>Kyle York, 2016; Shaun Nichols, 2017; Stephen Burke, 2017 </a:t>
            </a:r>
          </a:p>
          <a:p>
            <a:pPr>
              <a:spcBef>
                <a:spcPts val="600"/>
              </a:spcBef>
              <a:spcAft>
                <a:spcPts val="300"/>
              </a:spcAft>
            </a:pPr>
            <a:endParaRPr lang="en-US" sz="1400" dirty="0" smtClean="0"/>
          </a:p>
          <a:p>
            <a:pPr>
              <a:spcBef>
                <a:spcPts val="600"/>
              </a:spcBef>
              <a:spcAft>
                <a:spcPts val="300"/>
              </a:spcAft>
            </a:pPr>
            <a:endParaRPr lang="en-US" sz="1400" dirty="0" smtClean="0"/>
          </a:p>
        </p:txBody>
      </p:sp>
      <p:sp>
        <p:nvSpPr>
          <p:cNvPr id="2" name="Title 1"/>
          <p:cNvSpPr>
            <a:spLocks noGrp="1"/>
          </p:cNvSpPr>
          <p:nvPr>
            <p:ph type="title"/>
          </p:nvPr>
        </p:nvSpPr>
        <p:spPr/>
        <p:txBody>
          <a:bodyPr/>
          <a:lstStyle/>
          <a:p>
            <a:r>
              <a:rPr lang="en-CA" dirty="0"/>
              <a:t>You can’t outsource accountability and you can’t assume your vendor’s DR capabilities meet your needs</a:t>
            </a:r>
          </a:p>
        </p:txBody>
      </p:sp>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7222720" y="1945901"/>
            <a:ext cx="1654578" cy="2644195"/>
          </a:xfrm>
          <a:prstGeom prst="rect">
            <a:avLst/>
          </a:prstGeom>
        </p:spPr>
      </p:pic>
      <p:grpSp>
        <p:nvGrpSpPr>
          <p:cNvPr id="5" name="Group 6">
            <a:extLst>
              <a:ext uri="{FF2B5EF4-FFF2-40B4-BE49-F238E27FC236}">
                <a16:creationId xmlns:a16="http://schemas.microsoft.com/office/drawing/2014/main" xmlns="" id="{C030D879-9239-47C7-96B9-9EF6F83B5D95}"/>
              </a:ext>
            </a:extLst>
          </p:cNvPr>
          <p:cNvGrpSpPr/>
          <p:nvPr/>
        </p:nvGrpSpPr>
        <p:grpSpPr>
          <a:xfrm>
            <a:off x="-82944" y="5386046"/>
            <a:ext cx="8960242" cy="1444877"/>
            <a:chOff x="-77289" y="1101516"/>
            <a:chExt cx="8960242" cy="1444877"/>
          </a:xfrm>
        </p:grpSpPr>
        <p:sp>
          <p:nvSpPr>
            <p:cNvPr id="3" name="Title 2"/>
            <p:cNvSpPr txBox="1">
              <a:spLocks/>
            </p:cNvSpPr>
            <p:nvPr/>
          </p:nvSpPr>
          <p:spPr>
            <a:xfrm>
              <a:off x="257173" y="1431097"/>
              <a:ext cx="8625780" cy="674694"/>
            </a:xfrm>
            <a:prstGeom prst="rect">
              <a:avLst/>
            </a:prstGeom>
            <a:solidFill>
              <a:schemeClr val="bg1">
                <a:lumMod val="95000"/>
              </a:schemeClr>
            </a:solidFill>
            <a:ln w="28575">
              <a:noFill/>
            </a:ln>
          </p:spPr>
          <p:txBody>
            <a:bodyPr anchor="ctr"/>
            <a:lst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r">
                <a:spcAft>
                  <a:spcPts val="0"/>
                </a:spcAft>
              </a:pPr>
              <a:r>
                <a:rPr lang="en-US" sz="1800" i="1" dirty="0">
                  <a:solidFill>
                    <a:srgbClr val="C00000"/>
                  </a:solidFill>
                  <a:latin typeface="+mn-lt"/>
                </a:rPr>
                <a:t>I outsource infrastructure services so I don’t have to worry about DR. </a:t>
              </a:r>
            </a:p>
            <a:p>
              <a:pPr algn="r">
                <a:spcAft>
                  <a:spcPts val="0"/>
                </a:spcAft>
              </a:pPr>
              <a:r>
                <a:rPr lang="en-US" sz="1800" i="1" dirty="0">
                  <a:solidFill>
                    <a:srgbClr val="C00000"/>
                  </a:solidFill>
                  <a:latin typeface="+mn-lt"/>
                </a:rPr>
                <a:t>That’s my vendor’s responsibility.</a:t>
              </a:r>
              <a:endParaRPr lang="en-US" sz="2000" i="1" dirty="0">
                <a:solidFill>
                  <a:srgbClr val="C00000"/>
                </a:solidFill>
              </a:endParaRPr>
            </a:p>
          </p:txBody>
        </p:sp>
        <p:pic>
          <p:nvPicPr>
            <p:cNvPr id="9" name="Picture 10"/>
            <p:cNvPicPr>
              <a:picLocks noChangeAspect="1"/>
            </p:cNvPicPr>
            <p:nvPr/>
          </p:nvPicPr>
          <p:blipFill>
            <a:blip r:embed="rId3"/>
            <a:stretch>
              <a:fillRect/>
            </a:stretch>
          </p:blipFill>
          <p:spPr>
            <a:xfrm>
              <a:off x="-77289" y="1101516"/>
              <a:ext cx="1633870" cy="1444877"/>
            </a:xfrm>
            <a:prstGeom prst="rect">
              <a:avLst/>
            </a:prstGeom>
          </p:spPr>
        </p:pic>
      </p:grpSp>
    </p:spTree>
    <p:extLst>
      <p:ext uri="{BB962C8B-B14F-4D97-AF65-F5344CB8AC3E}">
        <p14:creationId xmlns:p14="http://schemas.microsoft.com/office/powerpoint/2010/main" val="33094195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a:xfrm>
            <a:off x="457355" y="5851167"/>
            <a:ext cx="8229290" cy="409950"/>
          </a:xfrm>
          <a:prstGeom prst="rect">
            <a:avLst/>
          </a:prstGeom>
          <a:solidFill>
            <a:schemeClr val="bg1">
              <a:lumMod val="95000"/>
            </a:schemeClr>
          </a:solidFill>
          <a:ln w="28575">
            <a:noFill/>
          </a:ln>
        </p:spPr>
        <p:txBody>
          <a:bodyPr anchor="ctr"/>
          <a:lst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r">
              <a:spcAft>
                <a:spcPts val="1200"/>
              </a:spcAft>
            </a:pPr>
            <a:r>
              <a:rPr lang="en-US" sz="1800" i="1" dirty="0">
                <a:solidFill>
                  <a:srgbClr val="C00000"/>
                </a:solidFill>
                <a:latin typeface="+mn-lt"/>
              </a:rPr>
              <a:t>A DRP must include every detail so anyone can execute recovery.</a:t>
            </a:r>
            <a:endParaRPr lang="en-US" sz="1800" i="1" dirty="0">
              <a:solidFill>
                <a:srgbClr val="333333"/>
              </a:solidFill>
              <a:latin typeface="+mn-lt"/>
            </a:endParaRPr>
          </a:p>
        </p:txBody>
      </p:sp>
      <p:sp>
        <p:nvSpPr>
          <p:cNvPr id="17" name="Title 16"/>
          <p:cNvSpPr>
            <a:spLocks noGrp="1"/>
          </p:cNvSpPr>
          <p:nvPr>
            <p:ph type="title"/>
          </p:nvPr>
        </p:nvSpPr>
        <p:spPr/>
        <p:txBody>
          <a:bodyPr/>
          <a:lstStyle/>
          <a:p>
            <a:r>
              <a:rPr lang="en-CA" dirty="0"/>
              <a:t>Choose flowcharts over process guides, checklists over procedures, and diagrams over </a:t>
            </a:r>
            <a:r>
              <a:rPr lang="en-CA" dirty="0" smtClean="0"/>
              <a:t>descriptions</a:t>
            </a:r>
            <a:endParaRPr lang="en-CA" dirty="0"/>
          </a:p>
        </p:txBody>
      </p:sp>
      <p:pic>
        <p:nvPicPr>
          <p:cNvPr id="20" name="Picture 19"/>
          <p:cNvPicPr>
            <a:picLocks noChangeAspect="1"/>
          </p:cNvPicPr>
          <p:nvPr/>
        </p:nvPicPr>
        <p:blipFill>
          <a:blip r:embed="rId3"/>
          <a:stretch>
            <a:fillRect/>
          </a:stretch>
        </p:blipFill>
        <p:spPr>
          <a:xfrm>
            <a:off x="-70338" y="5285328"/>
            <a:ext cx="1633870" cy="1444877"/>
          </a:xfrm>
          <a:prstGeom prst="rect">
            <a:avLst/>
          </a:prstGeom>
        </p:spPr>
      </p:pic>
      <p:grpSp>
        <p:nvGrpSpPr>
          <p:cNvPr id="15" name="Group 15">
            <a:extLst>
              <a:ext uri="{FF2B5EF4-FFF2-40B4-BE49-F238E27FC236}">
                <a16:creationId xmlns:a16="http://schemas.microsoft.com/office/drawing/2014/main" xmlns="" id="{89BC6D46-184D-4BC7-885D-41EB2821F50E}"/>
              </a:ext>
            </a:extLst>
          </p:cNvPr>
          <p:cNvGrpSpPr/>
          <p:nvPr/>
        </p:nvGrpSpPr>
        <p:grpSpPr>
          <a:xfrm>
            <a:off x="152671" y="1195231"/>
            <a:ext cx="8829129" cy="4467538"/>
            <a:chOff x="172550" y="2021348"/>
            <a:chExt cx="8829129" cy="4467538"/>
          </a:xfrm>
        </p:grpSpPr>
        <p:sp>
          <p:nvSpPr>
            <p:cNvPr id="3" name="Text Placeholder 3"/>
            <p:cNvSpPr txBox="1">
              <a:spLocks/>
            </p:cNvSpPr>
            <p:nvPr/>
          </p:nvSpPr>
          <p:spPr bwMode="auto">
            <a:xfrm>
              <a:off x="251519" y="2578065"/>
              <a:ext cx="4218724" cy="211944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Font typeface="Arial" pitchFamily="34" charset="0"/>
                <a:buNone/>
              </a:pPr>
              <a:r>
                <a:rPr lang="en-US" sz="1400" dirty="0"/>
                <a:t>In reality, you write a DR plan for </a:t>
              </a:r>
              <a:r>
                <a:rPr lang="en-US" sz="1400" b="1" dirty="0"/>
                <a:t>knowledgeable technical staff,</a:t>
              </a:r>
              <a:r>
                <a:rPr lang="en-US" sz="1400" dirty="0"/>
                <a:t> which allows you to summarize key details your staff already know.</a:t>
              </a:r>
            </a:p>
            <a:p>
              <a:pPr marL="0" indent="0">
                <a:spcBef>
                  <a:spcPts val="0"/>
                </a:spcBef>
                <a:spcAft>
                  <a:spcPts val="600"/>
                </a:spcAft>
                <a:buFont typeface="Arial" pitchFamily="34" charset="0"/>
                <a:buNone/>
              </a:pPr>
              <a:r>
                <a:rPr lang="en-US" sz="1400" dirty="0"/>
                <a:t>Concise, visual documentation is:</a:t>
              </a:r>
            </a:p>
            <a:p>
              <a:pPr>
                <a:spcBef>
                  <a:spcPts val="0"/>
                </a:spcBef>
                <a:spcAft>
                  <a:spcPts val="600"/>
                </a:spcAft>
              </a:pPr>
              <a:r>
                <a:rPr lang="en-US" sz="1400" dirty="0"/>
                <a:t>Quicker to create.</a:t>
              </a:r>
            </a:p>
            <a:p>
              <a:pPr>
                <a:spcBef>
                  <a:spcPts val="0"/>
                </a:spcBef>
                <a:spcAft>
                  <a:spcPts val="600"/>
                </a:spcAft>
              </a:pPr>
              <a:r>
                <a:rPr lang="en-US" sz="1400" dirty="0"/>
                <a:t>Easier to use.</a:t>
              </a:r>
            </a:p>
            <a:p>
              <a:pPr>
                <a:spcBef>
                  <a:spcPts val="0"/>
                </a:spcBef>
                <a:spcAft>
                  <a:spcPts val="600"/>
                </a:spcAft>
              </a:pPr>
              <a:r>
                <a:rPr lang="en-US" sz="1400" dirty="0"/>
                <a:t>Simpler to maintain.</a:t>
              </a:r>
            </a:p>
          </p:txBody>
        </p:sp>
        <p:graphicFrame>
          <p:nvGraphicFramePr>
            <p:cNvPr id="4" name="Object 28"/>
            <p:cNvGraphicFramePr>
              <a:graphicFrameLocks noChangeAspect="1"/>
            </p:cNvGraphicFramePr>
            <p:nvPr>
              <p:custDataLst>
                <p:tags r:id="rId1"/>
              </p:custDataLst>
              <p:extLst>
                <p:ext uri="{D42A27DB-BD31-4B8C-83A1-F6EECF244321}">
                  <p14:modId xmlns:p14="http://schemas.microsoft.com/office/powerpoint/2010/main" val="835992611"/>
                </p:ext>
              </p:extLst>
            </p:nvPr>
          </p:nvGraphicFramePr>
          <p:xfrm>
            <a:off x="5309788" y="2472650"/>
            <a:ext cx="3022696" cy="2755917"/>
          </p:xfrm>
          <a:graphic>
            <a:graphicData uri="http://schemas.openxmlformats.org/drawingml/2006/chart">
              <c:chart xmlns:c="http://schemas.openxmlformats.org/drawingml/2006/chart" xmlns:r="http://schemas.openxmlformats.org/officeDocument/2006/relationships" r:id="rId4"/>
            </a:graphicData>
          </a:graphic>
        </p:graphicFrame>
        <p:sp>
          <p:nvSpPr>
            <p:cNvPr id="5" name="Left-Right Arrow 22"/>
            <p:cNvSpPr/>
            <p:nvPr/>
          </p:nvSpPr>
          <p:spPr>
            <a:xfrm>
              <a:off x="5836515" y="5241250"/>
              <a:ext cx="1761009" cy="432048"/>
            </a:xfrm>
            <a:prstGeom prst="leftRightArrow">
              <a:avLst/>
            </a:prstGeom>
            <a:gradFill flip="none" rotWithShape="1">
              <a:gsLst>
                <a:gs pos="0">
                  <a:schemeClr val="accent1">
                    <a:lumMod val="75000"/>
                  </a:schemeClr>
                </a:gs>
                <a:gs pos="50000">
                  <a:schemeClr val="accent1">
                    <a:tint val="44500"/>
                    <a:satMod val="160000"/>
                  </a:schemeClr>
                </a:gs>
                <a:gs pos="100000">
                  <a:schemeClr val="accent1">
                    <a:tint val="23500"/>
                    <a:satMod val="16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Box 23"/>
            <p:cNvSpPr txBox="1"/>
            <p:nvPr/>
          </p:nvSpPr>
          <p:spPr>
            <a:xfrm>
              <a:off x="7558332" y="5190450"/>
              <a:ext cx="1443347" cy="553998"/>
            </a:xfrm>
            <a:prstGeom prst="rect">
              <a:avLst/>
            </a:prstGeom>
            <a:noFill/>
          </p:spPr>
          <p:txBody>
            <a:bodyPr wrap="square" rtlCol="0">
              <a:spAutoFit/>
            </a:bodyPr>
            <a:lstStyle/>
            <a:p>
              <a:pPr algn="ctr"/>
              <a:r>
                <a:rPr lang="en-US" sz="1000" b="1" dirty="0">
                  <a:solidFill>
                    <a:srgbClr val="333333"/>
                  </a:solidFill>
                </a:rPr>
                <a:t>Primarily flowcharts, checklists, and diagrams</a:t>
              </a:r>
            </a:p>
          </p:txBody>
        </p:sp>
        <p:sp>
          <p:nvSpPr>
            <p:cNvPr id="7" name="TextBox 24"/>
            <p:cNvSpPr txBox="1"/>
            <p:nvPr/>
          </p:nvSpPr>
          <p:spPr>
            <a:xfrm>
              <a:off x="4681200" y="5235832"/>
              <a:ext cx="1440160" cy="400110"/>
            </a:xfrm>
            <a:prstGeom prst="rect">
              <a:avLst/>
            </a:prstGeom>
            <a:noFill/>
          </p:spPr>
          <p:txBody>
            <a:bodyPr wrap="square" rtlCol="0">
              <a:spAutoFit/>
            </a:bodyPr>
            <a:lstStyle/>
            <a:p>
              <a:pPr algn="ctr"/>
              <a:r>
                <a:rPr lang="en-US" sz="1000" b="1" dirty="0">
                  <a:solidFill>
                    <a:srgbClr val="333333"/>
                  </a:solidFill>
                </a:rPr>
                <a:t>Traditional </a:t>
              </a:r>
            </a:p>
            <a:p>
              <a:pPr algn="ctr"/>
              <a:r>
                <a:rPr lang="en-US" sz="1000" b="1" dirty="0">
                  <a:solidFill>
                    <a:srgbClr val="333333"/>
                  </a:solidFill>
                </a:rPr>
                <a:t>manual</a:t>
              </a:r>
            </a:p>
          </p:txBody>
        </p:sp>
        <p:sp>
          <p:nvSpPr>
            <p:cNvPr id="8" name="TextBox 25"/>
            <p:cNvSpPr txBox="1"/>
            <p:nvPr/>
          </p:nvSpPr>
          <p:spPr>
            <a:xfrm>
              <a:off x="4900501" y="5781000"/>
              <a:ext cx="3737863" cy="707886"/>
            </a:xfrm>
            <a:prstGeom prst="rect">
              <a:avLst/>
            </a:prstGeom>
            <a:noFill/>
          </p:spPr>
          <p:txBody>
            <a:bodyPr wrap="square" rtlCol="0">
              <a:spAutoFit/>
            </a:bodyPr>
            <a:lstStyle/>
            <a:p>
              <a:pPr algn="ctr"/>
              <a:r>
                <a:rPr lang="en-US" sz="1000" b="1" dirty="0">
                  <a:solidFill>
                    <a:srgbClr val="333333"/>
                  </a:solidFill>
                </a:rPr>
                <a:t>Source:</a:t>
              </a:r>
              <a:r>
                <a:rPr lang="en-US" sz="1000" dirty="0">
                  <a:solidFill>
                    <a:srgbClr val="333333"/>
                  </a:solidFill>
                </a:rPr>
                <a:t> Info-Tech Research Group;</a:t>
              </a:r>
              <a:r>
                <a:rPr lang="en-US" sz="1000" i="1" dirty="0">
                  <a:solidFill>
                    <a:srgbClr val="333333"/>
                  </a:solidFill>
                </a:rPr>
                <a:t> N=95</a:t>
              </a:r>
              <a:endParaRPr lang="en-US" sz="1000" dirty="0">
                <a:solidFill>
                  <a:srgbClr val="333333"/>
                </a:solidFill>
              </a:endParaRPr>
            </a:p>
            <a:p>
              <a:r>
                <a:rPr lang="en-US" sz="1000" dirty="0">
                  <a:solidFill>
                    <a:srgbClr val="333333"/>
                  </a:solidFill>
                </a:rPr>
                <a:t>*</a:t>
              </a:r>
              <a:r>
                <a:rPr lang="en-US" sz="1000" i="1" dirty="0">
                  <a:solidFill>
                    <a:srgbClr val="333333"/>
                  </a:solidFill>
                </a:rPr>
                <a:t>DR Success </a:t>
              </a:r>
              <a:r>
                <a:rPr lang="en-US" sz="1000" dirty="0">
                  <a:solidFill>
                    <a:srgbClr val="333333"/>
                  </a:solidFill>
                </a:rPr>
                <a:t>is based on stated ability to meet recovery time objectives (RTOs) and recovery point objectives (RPOs), and reported confidence in ability to consistently meet targets.</a:t>
              </a:r>
            </a:p>
          </p:txBody>
        </p:sp>
        <p:sp>
          <p:nvSpPr>
            <p:cNvPr id="9" name="Left-Right Arrow 26"/>
            <p:cNvSpPr/>
            <p:nvPr/>
          </p:nvSpPr>
          <p:spPr>
            <a:xfrm rot="16200000">
              <a:off x="4051705" y="3674387"/>
              <a:ext cx="2088232" cy="432048"/>
            </a:xfrm>
            <a:prstGeom prst="leftRightArrow">
              <a:avLst/>
            </a:prstGeom>
            <a:gradFill flip="none" rotWithShape="1">
              <a:gsLst>
                <a:gs pos="0">
                  <a:schemeClr val="accent1">
                    <a:lumMod val="75000"/>
                  </a:schemeClr>
                </a:gs>
                <a:gs pos="50000">
                  <a:schemeClr val="accent1">
                    <a:tint val="44500"/>
                    <a:satMod val="160000"/>
                  </a:schemeClr>
                </a:gs>
                <a:gs pos="100000">
                  <a:schemeClr val="accent1">
                    <a:tint val="23500"/>
                    <a:satMod val="16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 name="TextBox 27"/>
            <p:cNvSpPr txBox="1"/>
            <p:nvPr/>
          </p:nvSpPr>
          <p:spPr>
            <a:xfrm>
              <a:off x="4736926" y="4922162"/>
              <a:ext cx="720080" cy="246221"/>
            </a:xfrm>
            <a:prstGeom prst="rect">
              <a:avLst/>
            </a:prstGeom>
            <a:noFill/>
          </p:spPr>
          <p:txBody>
            <a:bodyPr wrap="square" rtlCol="0">
              <a:spAutoFit/>
            </a:bodyPr>
            <a:lstStyle/>
            <a:p>
              <a:pPr algn="ctr"/>
              <a:r>
                <a:rPr lang="en-US" sz="1000" dirty="0">
                  <a:solidFill>
                    <a:srgbClr val="333333"/>
                  </a:solidFill>
                </a:rPr>
                <a:t>Low</a:t>
              </a:r>
            </a:p>
          </p:txBody>
        </p:sp>
        <p:sp>
          <p:nvSpPr>
            <p:cNvPr id="11" name="TextBox 28"/>
            <p:cNvSpPr txBox="1"/>
            <p:nvPr/>
          </p:nvSpPr>
          <p:spPr>
            <a:xfrm>
              <a:off x="4722446" y="2601870"/>
              <a:ext cx="720080" cy="246221"/>
            </a:xfrm>
            <a:prstGeom prst="rect">
              <a:avLst/>
            </a:prstGeom>
            <a:noFill/>
          </p:spPr>
          <p:txBody>
            <a:bodyPr wrap="square" rtlCol="0">
              <a:spAutoFit/>
            </a:bodyPr>
            <a:lstStyle/>
            <a:p>
              <a:pPr algn="ctr"/>
              <a:r>
                <a:rPr lang="en-US" sz="1000" dirty="0">
                  <a:solidFill>
                    <a:srgbClr val="333333"/>
                  </a:solidFill>
                </a:rPr>
                <a:t>High</a:t>
              </a:r>
            </a:p>
          </p:txBody>
        </p:sp>
        <p:sp>
          <p:nvSpPr>
            <p:cNvPr id="12" name="TextBox 29"/>
            <p:cNvSpPr txBox="1"/>
            <p:nvPr/>
          </p:nvSpPr>
          <p:spPr>
            <a:xfrm rot="16200000">
              <a:off x="3760195" y="3767564"/>
              <a:ext cx="2016224" cy="246221"/>
            </a:xfrm>
            <a:prstGeom prst="rect">
              <a:avLst/>
            </a:prstGeom>
            <a:noFill/>
          </p:spPr>
          <p:txBody>
            <a:bodyPr wrap="square" rtlCol="0">
              <a:spAutoFit/>
            </a:bodyPr>
            <a:lstStyle/>
            <a:p>
              <a:pPr algn="ctr"/>
              <a:r>
                <a:rPr lang="en-US" sz="1000" b="1" dirty="0">
                  <a:solidFill>
                    <a:srgbClr val="333333"/>
                  </a:solidFill>
                </a:rPr>
                <a:t>DR Success*</a:t>
              </a:r>
            </a:p>
          </p:txBody>
        </p:sp>
        <p:sp>
          <p:nvSpPr>
            <p:cNvPr id="13" name="Text Placeholder 3"/>
            <p:cNvSpPr txBox="1">
              <a:spLocks/>
            </p:cNvSpPr>
            <p:nvPr/>
          </p:nvSpPr>
          <p:spPr bwMode="auto">
            <a:xfrm>
              <a:off x="278905" y="2021348"/>
              <a:ext cx="8712273" cy="57305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None/>
              </a:pPr>
              <a:r>
                <a:rPr lang="en-CA" sz="1400" dirty="0"/>
                <a:t>IT DR is not an airplane disaster movie. You aren’t going to ask a business user to execute a system recovery, just like you wouldn’t really want a passenger with no flying experience to land a plane.</a:t>
              </a:r>
            </a:p>
          </p:txBody>
        </p:sp>
        <p:sp>
          <p:nvSpPr>
            <p:cNvPr id="14" name="TextBox 31"/>
            <p:cNvSpPr txBox="1"/>
            <p:nvPr/>
          </p:nvSpPr>
          <p:spPr>
            <a:xfrm>
              <a:off x="291268" y="4675836"/>
              <a:ext cx="4060257" cy="1692771"/>
            </a:xfrm>
            <a:prstGeom prst="rect">
              <a:avLst/>
            </a:prstGeom>
            <a:noFill/>
            <a:ln w="28575">
              <a:noFill/>
            </a:ln>
          </p:spPr>
          <p:txBody>
            <a:bodyPr wrap="square" rtlCol="0">
              <a:spAutoFit/>
            </a:bodyPr>
            <a:lstStyle/>
            <a:p>
              <a:pPr>
                <a:spcBef>
                  <a:spcPts val="600"/>
                </a:spcBef>
                <a:spcAft>
                  <a:spcPts val="600"/>
                </a:spcAft>
              </a:pPr>
              <a:r>
                <a:rPr lang="en-US" sz="1200" i="1" dirty="0">
                  <a:solidFill>
                    <a:srgbClr val="333333"/>
                  </a:solidFill>
                </a:rPr>
                <a:t>     </a:t>
              </a:r>
              <a:r>
                <a:rPr lang="en-US" sz="1400" i="1" dirty="0">
                  <a:solidFill>
                    <a:srgbClr val="333333"/>
                  </a:solidFill>
                  <a:latin typeface="Georgia"/>
                </a:rPr>
                <a:t>Without question, 300-page DRPs are not effective. I mean, auditors love them because of the detail, but give me a 10-page DRP with contact lists, process flows, diagrams, and recovery checklists that are easy to follow.</a:t>
              </a:r>
            </a:p>
            <a:p>
              <a:pPr algn="r">
                <a:spcBef>
                  <a:spcPts val="600"/>
                </a:spcBef>
                <a:spcAft>
                  <a:spcPts val="600"/>
                </a:spcAft>
              </a:pPr>
              <a:r>
                <a:rPr lang="en-US" sz="1200" dirty="0">
                  <a:solidFill>
                    <a:srgbClr val="333333"/>
                  </a:solidFill>
                </a:rPr>
                <a:t>– Bernard Jones, MBCI, CBCP, CORP, Manager Disaster Recovery/BCP, ActiveHealth Management</a:t>
              </a:r>
            </a:p>
          </p:txBody>
        </p:sp>
        <p:pic>
          <p:nvPicPr>
            <p:cNvPr id="21" name="Picture 107"/>
            <p:cNvPicPr>
              <a:picLocks noChangeAspect="1"/>
            </p:cNvPicPr>
            <p:nvPr/>
          </p:nvPicPr>
          <p:blipFill>
            <a:blip r:embed="rId5"/>
            <a:stretch>
              <a:fillRect/>
            </a:stretch>
          </p:blipFill>
          <p:spPr>
            <a:xfrm>
              <a:off x="172550" y="4640647"/>
              <a:ext cx="408564" cy="293880"/>
            </a:xfrm>
            <a:prstGeom prst="rect">
              <a:avLst/>
            </a:prstGeom>
          </p:spPr>
        </p:pic>
        <p:pic>
          <p:nvPicPr>
            <p:cNvPr id="22" name="Picture 106"/>
            <p:cNvPicPr>
              <a:picLocks noChangeAspect="1"/>
            </p:cNvPicPr>
            <p:nvPr/>
          </p:nvPicPr>
          <p:blipFill>
            <a:blip r:embed="rId6"/>
            <a:stretch>
              <a:fillRect/>
            </a:stretch>
          </p:blipFill>
          <p:spPr>
            <a:xfrm>
              <a:off x="3718477" y="5491546"/>
              <a:ext cx="400595" cy="363503"/>
            </a:xfrm>
            <a:prstGeom prst="rect">
              <a:avLst/>
            </a:prstGeom>
          </p:spPr>
        </p:pic>
      </p:grpSp>
    </p:spTree>
    <p:extLst>
      <p:ext uri="{BB962C8B-B14F-4D97-AF65-F5344CB8AC3E}">
        <p14:creationId xmlns:p14="http://schemas.microsoft.com/office/powerpoint/2010/main" val="4358202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A </a:t>
            </a:r>
            <a:r>
              <a:rPr lang="en-CA" dirty="0" smtClean="0"/>
              <a:t>DRP </a:t>
            </a:r>
            <a:r>
              <a:rPr lang="en-CA" dirty="0"/>
              <a:t>is part of an overall business continuity plan</a:t>
            </a:r>
          </a:p>
        </p:txBody>
      </p:sp>
      <p:sp>
        <p:nvSpPr>
          <p:cNvPr id="11" name="Rectangle 10"/>
          <p:cNvSpPr/>
          <p:nvPr/>
        </p:nvSpPr>
        <p:spPr>
          <a:xfrm>
            <a:off x="343348" y="1196170"/>
            <a:ext cx="8429590" cy="646331"/>
          </a:xfrm>
          <a:prstGeom prst="rect">
            <a:avLst/>
          </a:prstGeom>
        </p:spPr>
        <p:txBody>
          <a:bodyPr wrap="square">
            <a:spAutoFit/>
          </a:bodyPr>
          <a:lstStyle/>
          <a:p>
            <a:pPr>
              <a:spcBef>
                <a:spcPts val="600"/>
              </a:spcBef>
              <a:defRPr/>
            </a:pPr>
            <a:r>
              <a:rPr lang="en-US" sz="1200" kern="0" dirty="0">
                <a:solidFill>
                  <a:srgbClr val="333333"/>
                </a:solidFill>
              </a:rPr>
              <a:t>A </a:t>
            </a:r>
            <a:r>
              <a:rPr lang="en-US" sz="1200" b="1" kern="0" dirty="0" smtClean="0">
                <a:solidFill>
                  <a:srgbClr val="333333"/>
                </a:solidFill>
              </a:rPr>
              <a:t>DRP </a:t>
            </a:r>
            <a:r>
              <a:rPr lang="en-US" sz="1200" kern="0" dirty="0">
                <a:solidFill>
                  <a:srgbClr val="333333"/>
                </a:solidFill>
              </a:rPr>
              <a:t>is the set of procedures and supporting documentation that enables an organization to restore its core IT services (i.e. applications and infrastructure) as part of an overall business continuity plan (BCP), as described below. Use the templates, tools, and activities in this blueprint to create your DRP.</a:t>
            </a:r>
            <a:endParaRPr lang="en-US" sz="1200" b="1" kern="0" dirty="0">
              <a:solidFill>
                <a:srgbClr val="333333"/>
              </a:solidFill>
            </a:endParaRPr>
          </a:p>
        </p:txBody>
      </p:sp>
      <p:sp>
        <p:nvSpPr>
          <p:cNvPr id="13" name="Rectangle 12"/>
          <p:cNvSpPr/>
          <p:nvPr/>
        </p:nvSpPr>
        <p:spPr>
          <a:xfrm>
            <a:off x="234040" y="5855959"/>
            <a:ext cx="8643259" cy="469103"/>
          </a:xfrm>
          <a:prstGeom prst="rect">
            <a:avLst/>
          </a:prstGeom>
        </p:spPr>
        <p:txBody>
          <a:bodyPr wrap="square">
            <a:spAutoFit/>
          </a:bodyPr>
          <a:lstStyle/>
          <a:p>
            <a:pPr>
              <a:lnSpc>
                <a:spcPct val="102000"/>
              </a:lnSpc>
              <a:spcBef>
                <a:spcPts val="600"/>
              </a:spcBef>
              <a:spcAft>
                <a:spcPts val="600"/>
              </a:spcAft>
            </a:pPr>
            <a:r>
              <a:rPr lang="en-US" sz="1200" b="1" dirty="0">
                <a:solidFill>
                  <a:srgbClr val="333333"/>
                </a:solidFill>
                <a:ea typeface="Times New Roman" panose="02020603050405020304" pitchFamily="18" charset="0"/>
                <a:cs typeface="Times New Roman" panose="02020603050405020304" pitchFamily="18" charset="0"/>
              </a:rPr>
              <a:t>Note:</a:t>
            </a:r>
            <a:r>
              <a:rPr lang="en-US" sz="1200" dirty="0">
                <a:solidFill>
                  <a:srgbClr val="333333"/>
                </a:solidFill>
                <a:ea typeface="Times New Roman" panose="02020603050405020304" pitchFamily="18" charset="0"/>
                <a:cs typeface="Times New Roman" panose="02020603050405020304" pitchFamily="18" charset="0"/>
              </a:rPr>
              <a:t> For </a:t>
            </a:r>
            <a:r>
              <a:rPr lang="en-US" sz="1200" dirty="0" smtClean="0">
                <a:solidFill>
                  <a:srgbClr val="333333"/>
                </a:solidFill>
                <a:ea typeface="Times New Roman" panose="02020603050405020304" pitchFamily="18" charset="0"/>
                <a:cs typeface="Times New Roman" panose="02020603050405020304" pitchFamily="18" charset="0"/>
              </a:rPr>
              <a:t>DRP, we focus </a:t>
            </a:r>
            <a:r>
              <a:rPr lang="en-US" sz="1200" dirty="0">
                <a:solidFill>
                  <a:srgbClr val="333333"/>
                </a:solidFill>
                <a:ea typeface="Times New Roman" panose="02020603050405020304" pitchFamily="18" charset="0"/>
                <a:cs typeface="Times New Roman" panose="02020603050405020304" pitchFamily="18" charset="0"/>
              </a:rPr>
              <a:t>on business-facing IT services (as opposed to the underlying infrastructure), and then identify required infrastructure as dependencies (e.g. servers, databases, network).</a:t>
            </a:r>
          </a:p>
        </p:txBody>
      </p:sp>
      <p:grpSp>
        <p:nvGrpSpPr>
          <p:cNvPr id="23" name="Group 3"/>
          <p:cNvGrpSpPr/>
          <p:nvPr/>
        </p:nvGrpSpPr>
        <p:grpSpPr>
          <a:xfrm>
            <a:off x="343349" y="1926282"/>
            <a:ext cx="8533951" cy="3779193"/>
            <a:chOff x="343349" y="1935807"/>
            <a:chExt cx="8533951" cy="3482723"/>
          </a:xfrm>
        </p:grpSpPr>
        <p:sp>
          <p:nvSpPr>
            <p:cNvPr id="3" name="Rectangle 4"/>
            <p:cNvSpPr/>
            <p:nvPr/>
          </p:nvSpPr>
          <p:spPr>
            <a:xfrm>
              <a:off x="343349" y="1935807"/>
              <a:ext cx="8458200" cy="3482723"/>
            </a:xfrm>
            <a:prstGeom prst="rect">
              <a:avLst/>
            </a:prstGeom>
            <a:noFill/>
            <a:ln w="6350" cap="flat" cmpd="sng" algn="ctr">
              <a:solidFill>
                <a:srgbClr val="333333"/>
              </a:solidFill>
              <a:prstDash val="solid"/>
            </a:ln>
            <a:effectLst/>
          </p:spPr>
          <p:txBody>
            <a:bodyPr rtlCol="0" anchor="ctr"/>
            <a:lstStyle/>
            <a:p>
              <a:pPr algn="ctr">
                <a:defRPr/>
              </a:pPr>
              <a:endParaRPr lang="en-US" kern="0" dirty="0">
                <a:solidFill>
                  <a:srgbClr val="FFFFFF"/>
                </a:solidFill>
              </a:endParaRPr>
            </a:p>
          </p:txBody>
        </p:sp>
        <p:sp>
          <p:nvSpPr>
            <p:cNvPr id="7" name="Rectangle 5"/>
            <p:cNvSpPr/>
            <p:nvPr/>
          </p:nvSpPr>
          <p:spPr>
            <a:xfrm>
              <a:off x="416176" y="2033542"/>
              <a:ext cx="8321040" cy="468052"/>
            </a:xfrm>
            <a:prstGeom prst="rect">
              <a:avLst/>
            </a:prstGeom>
            <a:solidFill>
              <a:schemeClr val="bg1">
                <a:lumMod val="50000"/>
              </a:schemeClr>
            </a:solidFill>
            <a:ln w="25400" cap="flat" cmpd="sng" algn="ctr">
              <a:noFill/>
              <a:prstDash val="solid"/>
            </a:ln>
            <a:effectLst/>
          </p:spPr>
          <p:txBody>
            <a:bodyPr rtlCol="0" anchor="ctr"/>
            <a:lstStyle/>
            <a:p>
              <a:pPr algn="ctr">
                <a:defRPr/>
              </a:pPr>
              <a:r>
                <a:rPr lang="en-US" sz="1400" kern="0" dirty="0">
                  <a:solidFill>
                    <a:srgbClr val="FFFFFF"/>
                  </a:solidFill>
                </a:rPr>
                <a:t>Overall BCP</a:t>
              </a:r>
            </a:p>
          </p:txBody>
        </p:sp>
        <p:sp>
          <p:nvSpPr>
            <p:cNvPr id="8" name="TextBox 14"/>
            <p:cNvSpPr txBox="1"/>
            <p:nvPr/>
          </p:nvSpPr>
          <p:spPr>
            <a:xfrm>
              <a:off x="384408" y="3217928"/>
              <a:ext cx="2756135" cy="1999607"/>
            </a:xfrm>
            <a:prstGeom prst="rect">
              <a:avLst/>
            </a:prstGeom>
            <a:noFill/>
          </p:spPr>
          <p:txBody>
            <a:bodyPr wrap="square" rtlCol="0">
              <a:spAutoFit/>
            </a:bodyPr>
            <a:lstStyle/>
            <a:p>
              <a:pPr>
                <a:spcBef>
                  <a:spcPts val="300"/>
                </a:spcBef>
                <a:spcAft>
                  <a:spcPts val="300"/>
                </a:spcAft>
                <a:defRPr/>
              </a:pPr>
              <a:r>
                <a:rPr lang="en-US" sz="1200" kern="0" dirty="0">
                  <a:solidFill>
                    <a:srgbClr val="333333"/>
                  </a:solidFill>
                </a:rPr>
                <a:t>A plan to restore IT services (e.g. applications and infrastructure) following a disruption. This includes:</a:t>
              </a:r>
            </a:p>
            <a:p>
              <a:pPr marL="171450" indent="-171450">
                <a:spcBef>
                  <a:spcPts val="300"/>
                </a:spcBef>
                <a:spcAft>
                  <a:spcPts val="300"/>
                </a:spcAft>
                <a:buFont typeface="Arial" panose="020B0604020202020204" pitchFamily="34" charset="0"/>
                <a:buChar char="•"/>
                <a:defRPr/>
              </a:pPr>
              <a:r>
                <a:rPr lang="en-US" sz="1200" kern="0" dirty="0">
                  <a:solidFill>
                    <a:srgbClr val="333333"/>
                  </a:solidFill>
                </a:rPr>
                <a:t>Identifying critical applications and dependencies.</a:t>
              </a:r>
            </a:p>
            <a:p>
              <a:pPr marL="171450" indent="-171450">
                <a:spcBef>
                  <a:spcPts val="300"/>
                </a:spcBef>
                <a:spcAft>
                  <a:spcPts val="300"/>
                </a:spcAft>
                <a:buFont typeface="Arial" panose="020B0604020202020204" pitchFamily="34" charset="0"/>
                <a:buChar char="•"/>
                <a:defRPr/>
              </a:pPr>
              <a:r>
                <a:rPr lang="en-US" sz="1200" kern="0" dirty="0">
                  <a:solidFill>
                    <a:srgbClr val="333333"/>
                  </a:solidFill>
                </a:rPr>
                <a:t>Defining an appropriate (desired) recovery timeline based on a business impact </a:t>
              </a:r>
              <a:r>
                <a:rPr lang="en-US" sz="1200" kern="0" dirty="0" smtClean="0">
                  <a:solidFill>
                    <a:srgbClr val="333333"/>
                  </a:solidFill>
                </a:rPr>
                <a:t>analysis (BIA).</a:t>
              </a:r>
              <a:endParaRPr lang="en-US" sz="1200" kern="0" dirty="0">
                <a:solidFill>
                  <a:srgbClr val="333333"/>
                </a:solidFill>
              </a:endParaRPr>
            </a:p>
            <a:p>
              <a:pPr marL="171450" indent="-171450">
                <a:spcBef>
                  <a:spcPts val="300"/>
                </a:spcBef>
                <a:spcAft>
                  <a:spcPts val="300"/>
                </a:spcAft>
                <a:buFont typeface="Arial" panose="020B0604020202020204" pitchFamily="34" charset="0"/>
                <a:buChar char="•"/>
                <a:defRPr/>
              </a:pPr>
              <a:r>
                <a:rPr lang="en-US" sz="1200" kern="0" dirty="0">
                  <a:solidFill>
                    <a:srgbClr val="333333"/>
                  </a:solidFill>
                </a:rPr>
                <a:t>Creating a step-by-step incident response plan.</a:t>
              </a:r>
              <a:endParaRPr lang="en-US" sz="1200" b="1" kern="0" dirty="0">
                <a:solidFill>
                  <a:srgbClr val="333333"/>
                </a:solidFill>
              </a:endParaRPr>
            </a:p>
          </p:txBody>
        </p:sp>
        <p:sp>
          <p:nvSpPr>
            <p:cNvPr id="9" name="TextBox 16"/>
            <p:cNvSpPr txBox="1"/>
            <p:nvPr/>
          </p:nvSpPr>
          <p:spPr>
            <a:xfrm>
              <a:off x="3216294" y="3173575"/>
              <a:ext cx="2780062" cy="1623794"/>
            </a:xfrm>
            <a:prstGeom prst="rect">
              <a:avLst/>
            </a:prstGeom>
            <a:noFill/>
          </p:spPr>
          <p:txBody>
            <a:bodyPr wrap="square" rtlCol="0">
              <a:spAutoFit/>
            </a:bodyPr>
            <a:lstStyle/>
            <a:p>
              <a:pPr>
                <a:spcBef>
                  <a:spcPts val="300"/>
                </a:spcBef>
                <a:spcAft>
                  <a:spcPts val="300"/>
                </a:spcAft>
                <a:defRPr/>
              </a:pPr>
              <a:r>
                <a:rPr lang="en-US" sz="1200" kern="0" dirty="0">
                  <a:solidFill>
                    <a:srgbClr val="333333"/>
                  </a:solidFill>
                </a:rPr>
                <a:t>A set of plans to resume business processes for each business unit. </a:t>
              </a:r>
            </a:p>
            <a:p>
              <a:pPr>
                <a:spcBef>
                  <a:spcPts val="300"/>
                </a:spcBef>
                <a:spcAft>
                  <a:spcPts val="300"/>
                </a:spcAft>
                <a:defRPr/>
              </a:pPr>
              <a:r>
                <a:rPr lang="en-US" sz="1200" kern="0" dirty="0" smtClean="0">
                  <a:solidFill>
                    <a:srgbClr val="333333"/>
                  </a:solidFill>
                </a:rPr>
                <a:t>Info-Tech’s </a:t>
              </a:r>
              <a:r>
                <a:rPr lang="en-US" sz="1200" i="1" kern="0" dirty="0">
                  <a:solidFill>
                    <a:srgbClr val="333333"/>
                  </a:solidFill>
                  <a:hlinkClick r:id="rId2"/>
                </a:rPr>
                <a:t>Develop a Business Continuity Plan</a:t>
              </a:r>
              <a:r>
                <a:rPr lang="en-US" sz="1200" kern="0" dirty="0">
                  <a:solidFill>
                    <a:srgbClr val="333333"/>
                  </a:solidFill>
                </a:rPr>
                <a:t> blueprint provides a methodology for creating business unit BCPs as part of an overall BCP for the organization. </a:t>
              </a:r>
              <a:endParaRPr lang="en-US" sz="1200" b="1" kern="0" dirty="0">
                <a:solidFill>
                  <a:srgbClr val="333333"/>
                </a:solidFill>
              </a:endParaRPr>
            </a:p>
            <a:p>
              <a:pPr>
                <a:spcBef>
                  <a:spcPts val="600"/>
                </a:spcBef>
                <a:defRPr/>
              </a:pPr>
              <a:endParaRPr lang="en-US" sz="1200" kern="0" dirty="0">
                <a:solidFill>
                  <a:srgbClr val="333333"/>
                </a:solidFill>
              </a:endParaRPr>
            </a:p>
          </p:txBody>
        </p:sp>
        <p:sp>
          <p:nvSpPr>
            <p:cNvPr id="10" name="TextBox 17"/>
            <p:cNvSpPr txBox="1"/>
            <p:nvPr/>
          </p:nvSpPr>
          <p:spPr>
            <a:xfrm>
              <a:off x="6008552" y="3217928"/>
              <a:ext cx="2868748" cy="2027969"/>
            </a:xfrm>
            <a:prstGeom prst="rect">
              <a:avLst/>
            </a:prstGeom>
            <a:noFill/>
          </p:spPr>
          <p:txBody>
            <a:bodyPr wrap="square" rtlCol="0">
              <a:spAutoFit/>
            </a:bodyPr>
            <a:lstStyle/>
            <a:p>
              <a:pPr>
                <a:spcBef>
                  <a:spcPts val="600"/>
                </a:spcBef>
              </a:pPr>
              <a:r>
                <a:rPr lang="en-US" sz="1200" dirty="0">
                  <a:solidFill>
                    <a:srgbClr val="333333"/>
                  </a:solidFill>
                </a:rPr>
                <a:t>A set of processes to manage a wide range of crises, from health and safety incidents to business disruptions to reputational damage. This includes emergency response plans, crisis communication plans, and the steps to invoke BC/DR plans when applicable.</a:t>
              </a:r>
            </a:p>
            <a:p>
              <a:pPr>
                <a:spcBef>
                  <a:spcPts val="600"/>
                </a:spcBef>
              </a:pPr>
              <a:r>
                <a:rPr lang="en-US" sz="1200" dirty="0" smtClean="0">
                  <a:solidFill>
                    <a:srgbClr val="333333"/>
                  </a:solidFill>
                </a:rPr>
                <a:t>Info-Tech’s </a:t>
              </a:r>
              <a:r>
                <a:rPr lang="en-US" sz="1200" i="1" dirty="0">
                  <a:solidFill>
                    <a:srgbClr val="333333"/>
                  </a:solidFill>
                  <a:hlinkClick r:id="rId3"/>
                </a:rPr>
                <a:t>Implement Crisis Management Best Practices</a:t>
              </a:r>
              <a:r>
                <a:rPr lang="en-US" sz="1200" i="1" dirty="0">
                  <a:solidFill>
                    <a:srgbClr val="333333"/>
                  </a:solidFill>
                </a:rPr>
                <a:t> </a:t>
              </a:r>
              <a:r>
                <a:rPr lang="en-US" sz="1200" dirty="0">
                  <a:solidFill>
                    <a:srgbClr val="333333"/>
                  </a:solidFill>
                </a:rPr>
                <a:t>blueprint provides a structured approach to develop a crisis management process.</a:t>
              </a:r>
            </a:p>
          </p:txBody>
        </p:sp>
        <p:sp>
          <p:nvSpPr>
            <p:cNvPr id="12" name="Rectangle 19"/>
            <p:cNvSpPr/>
            <p:nvPr/>
          </p:nvSpPr>
          <p:spPr>
            <a:xfrm>
              <a:off x="351164" y="2560209"/>
              <a:ext cx="2820637" cy="2834640"/>
            </a:xfrm>
            <a:prstGeom prst="rect">
              <a:avLst/>
            </a:prstGeom>
            <a:noFill/>
            <a:ln w="38100" cap="flat" cmpd="sng" algn="ctr">
              <a:solidFill>
                <a:srgbClr val="AD2525"/>
              </a:solidFill>
              <a:prstDash val="solid"/>
            </a:ln>
            <a:effectLst/>
          </p:spPr>
          <p:txBody>
            <a:bodyPr rtlCol="0" anchor="ctr"/>
            <a:lstStyle/>
            <a:p>
              <a:pPr algn="ctr">
                <a:defRPr/>
              </a:pPr>
              <a:endParaRPr lang="en-US" kern="0" dirty="0">
                <a:solidFill>
                  <a:srgbClr val="FFFFFF"/>
                </a:solidFill>
              </a:endParaRPr>
            </a:p>
          </p:txBody>
        </p:sp>
        <p:sp>
          <p:nvSpPr>
            <p:cNvPr id="14" name="Rectangle 20"/>
            <p:cNvSpPr/>
            <p:nvPr/>
          </p:nvSpPr>
          <p:spPr>
            <a:xfrm>
              <a:off x="6038882" y="2598111"/>
              <a:ext cx="2651760" cy="548699"/>
            </a:xfrm>
            <a:prstGeom prst="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risis Management Plan</a:t>
              </a:r>
            </a:p>
          </p:txBody>
        </p:sp>
        <p:sp>
          <p:nvSpPr>
            <p:cNvPr id="16" name="Rectangle 21"/>
            <p:cNvSpPr/>
            <p:nvPr/>
          </p:nvSpPr>
          <p:spPr>
            <a:xfrm>
              <a:off x="3250816" y="2607368"/>
              <a:ext cx="2651760" cy="545967"/>
            </a:xfrm>
            <a:prstGeom prst="rect">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BCP for Each Business Unit</a:t>
              </a:r>
            </a:p>
          </p:txBody>
        </p:sp>
        <p:sp>
          <p:nvSpPr>
            <p:cNvPr id="19" name="Rectangle 23"/>
            <p:cNvSpPr/>
            <p:nvPr/>
          </p:nvSpPr>
          <p:spPr>
            <a:xfrm>
              <a:off x="428246" y="2610780"/>
              <a:ext cx="2655286" cy="545967"/>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IT DRP</a:t>
              </a:r>
            </a:p>
          </p:txBody>
        </p:sp>
      </p:grpSp>
    </p:spTree>
    <p:extLst>
      <p:ext uri="{BB962C8B-B14F-4D97-AF65-F5344CB8AC3E}">
        <p14:creationId xmlns:p14="http://schemas.microsoft.com/office/powerpoint/2010/main" val="11098880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Take a practical but structured approach to </a:t>
            </a:r>
            <a:r>
              <a:rPr lang="en-CA" dirty="0" smtClean="0"/>
              <a:t>creating a </a:t>
            </a:r>
            <a:r>
              <a:rPr lang="en-CA" dirty="0"/>
              <a:t>concise and effective </a:t>
            </a:r>
            <a:r>
              <a:rPr lang="en-CA" dirty="0" smtClean="0"/>
              <a:t>DRP</a:t>
            </a:r>
            <a:endParaRPr lang="en-CA" dirty="0"/>
          </a:p>
        </p:txBody>
      </p:sp>
      <p:sp>
        <p:nvSpPr>
          <p:cNvPr id="3" name="TextBox 2"/>
          <p:cNvSpPr txBox="1"/>
          <p:nvPr/>
        </p:nvSpPr>
        <p:spPr>
          <a:xfrm>
            <a:off x="238887" y="1487061"/>
            <a:ext cx="739305" cy="276999"/>
          </a:xfrm>
          <a:prstGeom prst="rect">
            <a:avLst/>
          </a:prstGeom>
          <a:effectLst/>
        </p:spPr>
        <p:txBody>
          <a:bodyPr wrap="square" rtlCol="0">
            <a:spAutoFit/>
          </a:bodyPr>
          <a:lstStyle/>
          <a:p>
            <a:pPr algn="ctr"/>
            <a:r>
              <a:rPr lang="en-CA" sz="1200" b="1" dirty="0"/>
              <a:t>Phases</a:t>
            </a:r>
          </a:p>
        </p:txBody>
      </p:sp>
      <p:sp>
        <p:nvSpPr>
          <p:cNvPr id="4" name="TextBox 3"/>
          <p:cNvSpPr txBox="1"/>
          <p:nvPr/>
        </p:nvSpPr>
        <p:spPr>
          <a:xfrm>
            <a:off x="271971" y="3224544"/>
            <a:ext cx="643197" cy="276999"/>
          </a:xfrm>
          <a:prstGeom prst="rect">
            <a:avLst/>
          </a:prstGeom>
          <a:effectLst/>
        </p:spPr>
        <p:txBody>
          <a:bodyPr wrap="square" rtlCol="0">
            <a:spAutoFit/>
          </a:bodyPr>
          <a:lstStyle/>
          <a:p>
            <a:r>
              <a:rPr lang="en-CA" sz="1200" b="1" dirty="0"/>
              <a:t>Steps</a:t>
            </a:r>
          </a:p>
        </p:txBody>
      </p:sp>
      <p:sp>
        <p:nvSpPr>
          <p:cNvPr id="5" name="TextBox 4"/>
          <p:cNvSpPr txBox="1"/>
          <p:nvPr/>
        </p:nvSpPr>
        <p:spPr>
          <a:xfrm>
            <a:off x="129150" y="5173256"/>
            <a:ext cx="958780" cy="461665"/>
          </a:xfrm>
          <a:prstGeom prst="rect">
            <a:avLst/>
          </a:prstGeom>
          <a:effectLst/>
        </p:spPr>
        <p:txBody>
          <a:bodyPr wrap="square" rtlCol="0">
            <a:spAutoFit/>
          </a:bodyPr>
          <a:lstStyle/>
          <a:p>
            <a:pPr algn="ctr"/>
            <a:r>
              <a:rPr lang="en-CA" sz="1200" b="1" dirty="0"/>
              <a:t>Tools and Templates</a:t>
            </a:r>
          </a:p>
        </p:txBody>
      </p:sp>
      <p:cxnSp>
        <p:nvCxnSpPr>
          <p:cNvPr id="7" name="Straight Connector 13"/>
          <p:cNvCxnSpPr/>
          <p:nvPr/>
        </p:nvCxnSpPr>
        <p:spPr>
          <a:xfrm flipV="1">
            <a:off x="1626271" y="4235670"/>
            <a:ext cx="251163" cy="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 name="Straight Connector 17"/>
          <p:cNvCxnSpPr/>
          <p:nvPr/>
        </p:nvCxnSpPr>
        <p:spPr>
          <a:xfrm flipV="1">
            <a:off x="3606339" y="4235670"/>
            <a:ext cx="251163" cy="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 name="Straight Connector 45"/>
          <p:cNvCxnSpPr/>
          <p:nvPr/>
        </p:nvCxnSpPr>
        <p:spPr>
          <a:xfrm flipV="1">
            <a:off x="5560046" y="4235670"/>
            <a:ext cx="251163" cy="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46"/>
          <p:cNvCxnSpPr/>
          <p:nvPr/>
        </p:nvCxnSpPr>
        <p:spPr>
          <a:xfrm flipV="1">
            <a:off x="1616486" y="3351951"/>
            <a:ext cx="251163" cy="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 name="Straight Connector 47"/>
          <p:cNvCxnSpPr/>
          <p:nvPr/>
        </p:nvCxnSpPr>
        <p:spPr>
          <a:xfrm flipV="1">
            <a:off x="3596554" y="3351951"/>
            <a:ext cx="251163" cy="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3" name="Straight Connector 48"/>
          <p:cNvCxnSpPr/>
          <p:nvPr/>
        </p:nvCxnSpPr>
        <p:spPr>
          <a:xfrm flipV="1">
            <a:off x="5550261" y="3351951"/>
            <a:ext cx="251163" cy="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5" name="Straight Connector 49"/>
          <p:cNvCxnSpPr/>
          <p:nvPr/>
        </p:nvCxnSpPr>
        <p:spPr>
          <a:xfrm flipV="1">
            <a:off x="1616486" y="2473067"/>
            <a:ext cx="251163" cy="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50"/>
          <p:cNvCxnSpPr/>
          <p:nvPr/>
        </p:nvCxnSpPr>
        <p:spPr>
          <a:xfrm flipV="1">
            <a:off x="3596554" y="2473067"/>
            <a:ext cx="251163" cy="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7" name="Straight Connector 60"/>
          <p:cNvCxnSpPr/>
          <p:nvPr/>
        </p:nvCxnSpPr>
        <p:spPr>
          <a:xfrm flipV="1">
            <a:off x="5550261" y="2473067"/>
            <a:ext cx="251163" cy="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9" name="Straight Connector 62"/>
          <p:cNvCxnSpPr/>
          <p:nvPr/>
        </p:nvCxnSpPr>
        <p:spPr>
          <a:xfrm>
            <a:off x="1471308" y="1689850"/>
            <a:ext cx="0" cy="4478221"/>
          </a:xfrm>
          <a:prstGeom prst="line">
            <a:avLst/>
          </a:prstGeom>
          <a:ln/>
          <a:effectLst/>
        </p:spPr>
        <p:style>
          <a:lnRef idx="2">
            <a:schemeClr val="dk1"/>
          </a:lnRef>
          <a:fillRef idx="0">
            <a:schemeClr val="dk1"/>
          </a:fillRef>
          <a:effectRef idx="1">
            <a:schemeClr val="dk1"/>
          </a:effectRef>
          <a:fontRef idx="minor">
            <a:schemeClr val="tx1"/>
          </a:fontRef>
        </p:style>
      </p:cxnSp>
      <p:sp>
        <p:nvSpPr>
          <p:cNvPr id="20" name="Rounded Rectangle 63"/>
          <p:cNvSpPr/>
          <p:nvPr/>
        </p:nvSpPr>
        <p:spPr>
          <a:xfrm>
            <a:off x="1263273" y="1278939"/>
            <a:ext cx="1822797" cy="702318"/>
          </a:xfrm>
          <a:prstGeom prst="roundRect">
            <a:avLst/>
          </a:prstGeom>
          <a:solidFill>
            <a:srgbClr val="29475F"/>
          </a:solidFill>
          <a:ln w="28575">
            <a:noFill/>
          </a:ln>
          <a:effectLst/>
        </p:spPr>
        <p:style>
          <a:lnRef idx="1">
            <a:schemeClr val="dk1"/>
          </a:lnRef>
          <a:fillRef idx="2">
            <a:schemeClr val="dk1"/>
          </a:fillRef>
          <a:effectRef idx="1">
            <a:schemeClr val="dk1"/>
          </a:effectRef>
          <a:fontRef idx="minor">
            <a:schemeClr val="dk1"/>
          </a:fontRef>
        </p:style>
        <p:txBody>
          <a:bodyPr rtlCol="0" anchor="ctr"/>
          <a:lstStyle/>
          <a:p>
            <a:pPr algn="ctr"/>
            <a:r>
              <a:rPr lang="en-CA" sz="1200" b="1" dirty="0">
                <a:solidFill>
                  <a:schemeClr val="bg1"/>
                </a:solidFill>
              </a:rPr>
              <a:t>Phase 1: </a:t>
            </a:r>
            <a:r>
              <a:rPr lang="en-CA" sz="1200" dirty="0">
                <a:solidFill>
                  <a:schemeClr val="bg1"/>
                </a:solidFill>
              </a:rPr>
              <a:t>Define DRP </a:t>
            </a:r>
            <a:r>
              <a:rPr lang="en-CA" sz="1200" dirty="0" smtClean="0">
                <a:solidFill>
                  <a:schemeClr val="bg1"/>
                </a:solidFill>
              </a:rPr>
              <a:t>Scope</a:t>
            </a:r>
            <a:r>
              <a:rPr lang="en-CA" sz="1200" dirty="0">
                <a:solidFill>
                  <a:schemeClr val="bg1"/>
                </a:solidFill>
              </a:rPr>
              <a:t>, </a:t>
            </a:r>
            <a:r>
              <a:rPr lang="en-CA" sz="1200" dirty="0" smtClean="0">
                <a:solidFill>
                  <a:schemeClr val="bg1"/>
                </a:solidFill>
              </a:rPr>
              <a:t>Current </a:t>
            </a:r>
            <a:r>
              <a:rPr lang="en-CA" sz="1200" dirty="0">
                <a:solidFill>
                  <a:schemeClr val="bg1"/>
                </a:solidFill>
              </a:rPr>
              <a:t>S</a:t>
            </a:r>
            <a:r>
              <a:rPr lang="en-CA" sz="1200" dirty="0" smtClean="0">
                <a:solidFill>
                  <a:schemeClr val="bg1"/>
                </a:solidFill>
              </a:rPr>
              <a:t>tatus</a:t>
            </a:r>
            <a:r>
              <a:rPr lang="en-CA" sz="1200" dirty="0">
                <a:solidFill>
                  <a:schemeClr val="bg1"/>
                </a:solidFill>
              </a:rPr>
              <a:t>, and </a:t>
            </a:r>
            <a:r>
              <a:rPr lang="en-CA" sz="1200" dirty="0" smtClean="0">
                <a:solidFill>
                  <a:schemeClr val="bg1"/>
                </a:solidFill>
              </a:rPr>
              <a:t>Dependencies </a:t>
            </a:r>
            <a:endParaRPr lang="en-CA" sz="1200" dirty="0">
              <a:solidFill>
                <a:schemeClr val="bg1"/>
              </a:solidFill>
            </a:endParaRPr>
          </a:p>
        </p:txBody>
      </p:sp>
      <p:sp>
        <p:nvSpPr>
          <p:cNvPr id="21" name="Rounded Rectangle 64"/>
          <p:cNvSpPr/>
          <p:nvPr/>
        </p:nvSpPr>
        <p:spPr>
          <a:xfrm>
            <a:off x="1825789" y="2976801"/>
            <a:ext cx="1260281" cy="760426"/>
          </a:xfrm>
          <a:prstGeom prst="roundRect">
            <a:avLst/>
          </a:prstGeom>
          <a:ln w="9525">
            <a:solidFill>
              <a:srgbClr val="16476E"/>
            </a:solidFill>
          </a:ln>
          <a:effectLst/>
        </p:spPr>
        <p:style>
          <a:lnRef idx="1">
            <a:schemeClr val="accent4"/>
          </a:lnRef>
          <a:fillRef idx="2">
            <a:schemeClr val="accent4"/>
          </a:fillRef>
          <a:effectRef idx="1">
            <a:schemeClr val="accent4"/>
          </a:effectRef>
          <a:fontRef idx="minor">
            <a:schemeClr val="dk1"/>
          </a:fontRef>
        </p:style>
        <p:txBody>
          <a:bodyPr lIns="36000" rIns="36000" rtlCol="0" anchor="ctr" anchorCtr="0"/>
          <a:lstStyle/>
          <a:p>
            <a:pPr algn="ctr"/>
            <a:r>
              <a:rPr lang="en-CA" sz="1100" dirty="0" smtClean="0">
                <a:solidFill>
                  <a:schemeClr val="tx1"/>
                </a:solidFill>
              </a:rPr>
              <a:t>Assess Current-State DRP Maturity.</a:t>
            </a:r>
            <a:endParaRPr lang="en-US" sz="1100" dirty="0">
              <a:solidFill>
                <a:schemeClr val="tx1"/>
              </a:solidFill>
            </a:endParaRPr>
          </a:p>
        </p:txBody>
      </p:sp>
      <p:sp>
        <p:nvSpPr>
          <p:cNvPr id="22" name="Rounded Rectangle 65"/>
          <p:cNvSpPr/>
          <p:nvPr/>
        </p:nvSpPr>
        <p:spPr>
          <a:xfrm>
            <a:off x="1825789" y="2099573"/>
            <a:ext cx="1249536" cy="760425"/>
          </a:xfrm>
          <a:prstGeom prst="roundRect">
            <a:avLst/>
          </a:prstGeom>
          <a:ln w="9525">
            <a:solidFill>
              <a:srgbClr val="1E5E92"/>
            </a:solidFill>
          </a:ln>
          <a:effectLst/>
        </p:spPr>
        <p:style>
          <a:lnRef idx="2">
            <a:schemeClr val="accent3"/>
          </a:lnRef>
          <a:fillRef idx="1">
            <a:schemeClr val="lt1"/>
          </a:fillRef>
          <a:effectRef idx="0">
            <a:schemeClr val="accent3"/>
          </a:effectRef>
          <a:fontRef idx="minor">
            <a:schemeClr val="dk1"/>
          </a:fontRef>
        </p:style>
        <p:txBody>
          <a:bodyPr lIns="36000" rIns="36000" rtlCol="0" anchor="ctr" anchorCtr="0"/>
          <a:lstStyle/>
          <a:p>
            <a:pPr algn="ctr"/>
            <a:r>
              <a:rPr lang="en-US" sz="1100" dirty="0" smtClean="0">
                <a:solidFill>
                  <a:schemeClr val="tx1"/>
                </a:solidFill>
              </a:rPr>
              <a:t>Set Scope, Kick-Off the DRP Project, and Create a Charter.</a:t>
            </a:r>
            <a:endParaRPr lang="en-US" sz="1100" dirty="0">
              <a:solidFill>
                <a:schemeClr val="tx1"/>
              </a:solidFill>
            </a:endParaRPr>
          </a:p>
        </p:txBody>
      </p:sp>
      <p:sp>
        <p:nvSpPr>
          <p:cNvPr id="23" name="Oval 66"/>
          <p:cNvSpPr/>
          <p:nvPr/>
        </p:nvSpPr>
        <p:spPr>
          <a:xfrm>
            <a:off x="1252208" y="3141014"/>
            <a:ext cx="432000" cy="432000"/>
          </a:xfrm>
          <a:prstGeom prst="ellipse">
            <a:avLst/>
          </a:prstGeom>
          <a:solidFill>
            <a:srgbClr val="519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1.2</a:t>
            </a:r>
          </a:p>
        </p:txBody>
      </p:sp>
      <p:sp>
        <p:nvSpPr>
          <p:cNvPr id="24" name="Oval 67"/>
          <p:cNvSpPr/>
          <p:nvPr/>
        </p:nvSpPr>
        <p:spPr>
          <a:xfrm>
            <a:off x="1252208" y="2263785"/>
            <a:ext cx="432000" cy="432000"/>
          </a:xfrm>
          <a:prstGeom prst="ellipse">
            <a:avLst/>
          </a:prstGeom>
          <a:solidFill>
            <a:srgbClr val="7CADD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1.1</a:t>
            </a:r>
          </a:p>
        </p:txBody>
      </p:sp>
      <p:sp>
        <p:nvSpPr>
          <p:cNvPr id="25" name="Rectangle 68"/>
          <p:cNvSpPr/>
          <p:nvPr/>
        </p:nvSpPr>
        <p:spPr>
          <a:xfrm>
            <a:off x="1252208" y="5165121"/>
            <a:ext cx="1948130" cy="324000"/>
          </a:xfrm>
          <a:prstGeom prst="rect">
            <a:avLst/>
          </a:prstGeom>
          <a:solidFill>
            <a:srgbClr val="CBDBE7"/>
          </a:solidFill>
          <a:ln>
            <a:solidFill>
              <a:srgbClr val="825800"/>
            </a:solidFill>
          </a:ln>
          <a:effectLst/>
        </p:spPr>
        <p:style>
          <a:lnRef idx="1">
            <a:schemeClr val="accent2"/>
          </a:lnRef>
          <a:fillRef idx="2">
            <a:schemeClr val="accent2"/>
          </a:fillRef>
          <a:effectRef idx="1">
            <a:schemeClr val="accent2"/>
          </a:effectRef>
          <a:fontRef idx="minor">
            <a:schemeClr val="dk1"/>
          </a:fontRef>
        </p:style>
        <p:txBody>
          <a:bodyPr rtlCol="0" anchor="ctr"/>
          <a:lstStyle/>
          <a:p>
            <a:pPr algn="ctr"/>
            <a:r>
              <a:rPr lang="en-CA" sz="1200" i="1" dirty="0">
                <a:solidFill>
                  <a:schemeClr val="tx1"/>
                </a:solidFill>
                <a:hlinkClick r:id="rId3"/>
              </a:rPr>
              <a:t>DRP Maturity Scorecard</a:t>
            </a:r>
            <a:endParaRPr lang="en-CA" sz="1200" i="1" dirty="0">
              <a:solidFill>
                <a:schemeClr val="tx1"/>
              </a:solidFill>
            </a:endParaRPr>
          </a:p>
        </p:txBody>
      </p:sp>
      <p:sp>
        <p:nvSpPr>
          <p:cNvPr id="26" name="Oval 69"/>
          <p:cNvSpPr/>
          <p:nvPr/>
        </p:nvSpPr>
        <p:spPr>
          <a:xfrm>
            <a:off x="1252208" y="4011403"/>
            <a:ext cx="432000" cy="432000"/>
          </a:xfrm>
          <a:prstGeom prst="ellipse">
            <a:avLst/>
          </a:prstGeom>
          <a:solidFill>
            <a:srgbClr val="365D7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1.3</a:t>
            </a:r>
          </a:p>
        </p:txBody>
      </p:sp>
      <p:sp>
        <p:nvSpPr>
          <p:cNvPr id="27" name="Rounded Rectangle 70"/>
          <p:cNvSpPr/>
          <p:nvPr/>
        </p:nvSpPr>
        <p:spPr>
          <a:xfrm>
            <a:off x="1823257" y="3847190"/>
            <a:ext cx="1260281" cy="760426"/>
          </a:xfrm>
          <a:prstGeom prst="roundRect">
            <a:avLst/>
          </a:prstGeom>
          <a:ln w="9525">
            <a:solidFill>
              <a:srgbClr val="16476E"/>
            </a:solidFill>
          </a:ln>
          <a:effectLst/>
        </p:spPr>
        <p:style>
          <a:lnRef idx="1">
            <a:schemeClr val="accent4"/>
          </a:lnRef>
          <a:fillRef idx="2">
            <a:schemeClr val="accent4"/>
          </a:fillRef>
          <a:effectRef idx="1">
            <a:schemeClr val="accent4"/>
          </a:effectRef>
          <a:fontRef idx="minor">
            <a:schemeClr val="dk1"/>
          </a:fontRef>
        </p:style>
        <p:txBody>
          <a:bodyPr lIns="36000" rIns="36000" rtlCol="0" anchor="ctr" anchorCtr="0"/>
          <a:lstStyle/>
          <a:p>
            <a:pPr algn="ctr" fontAlgn="base">
              <a:spcBef>
                <a:spcPct val="0"/>
              </a:spcBef>
              <a:spcAft>
                <a:spcPct val="0"/>
              </a:spcAft>
            </a:pPr>
            <a:r>
              <a:rPr lang="en-CA" sz="1100" dirty="0" smtClean="0">
                <a:solidFill>
                  <a:schemeClr val="tx1"/>
                </a:solidFill>
              </a:rPr>
              <a:t>Identify Applications, Systems, and Dependencies.</a:t>
            </a:r>
            <a:endParaRPr lang="en-CA" sz="1100" dirty="0">
              <a:solidFill>
                <a:schemeClr val="tx1"/>
              </a:solidFill>
            </a:endParaRPr>
          </a:p>
        </p:txBody>
      </p:sp>
      <p:cxnSp>
        <p:nvCxnSpPr>
          <p:cNvPr id="28" name="Straight Connector 71"/>
          <p:cNvCxnSpPr/>
          <p:nvPr/>
        </p:nvCxnSpPr>
        <p:spPr>
          <a:xfrm>
            <a:off x="3413081" y="1844036"/>
            <a:ext cx="0" cy="3058685"/>
          </a:xfrm>
          <a:prstGeom prst="line">
            <a:avLst/>
          </a:prstGeom>
          <a:ln/>
          <a:effectLst/>
        </p:spPr>
        <p:style>
          <a:lnRef idx="2">
            <a:schemeClr val="dk1"/>
          </a:lnRef>
          <a:fillRef idx="0">
            <a:schemeClr val="dk1"/>
          </a:fillRef>
          <a:effectRef idx="1">
            <a:schemeClr val="dk1"/>
          </a:effectRef>
          <a:fontRef idx="minor">
            <a:schemeClr val="tx1"/>
          </a:fontRef>
        </p:style>
      </p:cxnSp>
      <p:sp>
        <p:nvSpPr>
          <p:cNvPr id="29" name="Rounded Rectangle 72"/>
          <p:cNvSpPr/>
          <p:nvPr/>
        </p:nvSpPr>
        <p:spPr>
          <a:xfrm>
            <a:off x="3106586" y="1278939"/>
            <a:ext cx="1935231" cy="702318"/>
          </a:xfrm>
          <a:prstGeom prst="roundRect">
            <a:avLst/>
          </a:prstGeom>
          <a:solidFill>
            <a:srgbClr val="29475F"/>
          </a:solidFill>
          <a:ln w="28575">
            <a:noFill/>
          </a:ln>
          <a:effectLst/>
        </p:spPr>
        <p:style>
          <a:lnRef idx="1">
            <a:schemeClr val="dk1"/>
          </a:lnRef>
          <a:fillRef idx="2">
            <a:schemeClr val="dk1"/>
          </a:fillRef>
          <a:effectRef idx="1">
            <a:schemeClr val="dk1"/>
          </a:effectRef>
          <a:fontRef idx="minor">
            <a:schemeClr val="dk1"/>
          </a:fontRef>
        </p:style>
        <p:txBody>
          <a:bodyPr rtlCol="0" anchor="ctr"/>
          <a:lstStyle/>
          <a:p>
            <a:pPr algn="ctr"/>
            <a:r>
              <a:rPr lang="en-CA" sz="1200" b="1" dirty="0">
                <a:solidFill>
                  <a:schemeClr val="bg1"/>
                </a:solidFill>
              </a:rPr>
              <a:t>Phase 2: </a:t>
            </a:r>
            <a:r>
              <a:rPr lang="en-CA" sz="1200" dirty="0">
                <a:solidFill>
                  <a:schemeClr val="bg1"/>
                </a:solidFill>
              </a:rPr>
              <a:t>Conduct a BIA to </a:t>
            </a:r>
            <a:r>
              <a:rPr lang="en-CA" sz="1200" dirty="0" smtClean="0">
                <a:solidFill>
                  <a:schemeClr val="bg1"/>
                </a:solidFill>
              </a:rPr>
              <a:t>Determine </a:t>
            </a:r>
            <a:r>
              <a:rPr lang="en-CA" sz="1200" dirty="0">
                <a:solidFill>
                  <a:schemeClr val="bg1"/>
                </a:solidFill>
              </a:rPr>
              <a:t>A</a:t>
            </a:r>
            <a:r>
              <a:rPr lang="en-CA" sz="1200" dirty="0" smtClean="0">
                <a:solidFill>
                  <a:schemeClr val="bg1"/>
                </a:solidFill>
              </a:rPr>
              <a:t>cceptable </a:t>
            </a:r>
            <a:r>
              <a:rPr lang="en-CA" sz="1200" dirty="0">
                <a:solidFill>
                  <a:schemeClr val="bg1"/>
                </a:solidFill>
              </a:rPr>
              <a:t>RTOs and RPOs</a:t>
            </a:r>
          </a:p>
        </p:txBody>
      </p:sp>
      <p:sp>
        <p:nvSpPr>
          <p:cNvPr id="30" name="Rounded Rectangle 73"/>
          <p:cNvSpPr/>
          <p:nvPr/>
        </p:nvSpPr>
        <p:spPr>
          <a:xfrm>
            <a:off x="3775377" y="2976801"/>
            <a:ext cx="1260281" cy="760426"/>
          </a:xfrm>
          <a:prstGeom prst="roundRect">
            <a:avLst/>
          </a:prstGeom>
          <a:ln w="9525">
            <a:solidFill>
              <a:srgbClr val="16476E"/>
            </a:solidFill>
          </a:ln>
          <a:effectLst/>
        </p:spPr>
        <p:style>
          <a:lnRef idx="1">
            <a:schemeClr val="accent4"/>
          </a:lnRef>
          <a:fillRef idx="2">
            <a:schemeClr val="accent4"/>
          </a:fillRef>
          <a:effectRef idx="1">
            <a:schemeClr val="accent4"/>
          </a:effectRef>
          <a:fontRef idx="minor">
            <a:schemeClr val="dk1"/>
          </a:fontRef>
        </p:style>
        <p:txBody>
          <a:bodyPr lIns="36000" rIns="36000" rtlCol="0" anchor="ctr" anchorCtr="0"/>
          <a:lstStyle/>
          <a:p>
            <a:pPr algn="ctr"/>
            <a:r>
              <a:rPr lang="en-CA" sz="1100" dirty="0">
                <a:solidFill>
                  <a:schemeClr val="tx1"/>
                </a:solidFill>
              </a:rPr>
              <a:t>Estimate the </a:t>
            </a:r>
            <a:r>
              <a:rPr lang="en-CA" sz="1100" dirty="0" smtClean="0">
                <a:solidFill>
                  <a:schemeClr val="tx1"/>
                </a:solidFill>
              </a:rPr>
              <a:t>Impact </a:t>
            </a:r>
            <a:r>
              <a:rPr lang="en-CA" sz="1100" dirty="0">
                <a:solidFill>
                  <a:schemeClr val="tx1"/>
                </a:solidFill>
              </a:rPr>
              <a:t>of D</a:t>
            </a:r>
            <a:r>
              <a:rPr lang="en-CA" sz="1100" dirty="0" smtClean="0">
                <a:solidFill>
                  <a:schemeClr val="tx1"/>
                </a:solidFill>
              </a:rPr>
              <a:t>owntime.</a:t>
            </a:r>
            <a:endParaRPr lang="en-US" sz="1100" dirty="0">
              <a:solidFill>
                <a:schemeClr val="tx1"/>
              </a:solidFill>
            </a:endParaRPr>
          </a:p>
        </p:txBody>
      </p:sp>
      <p:sp>
        <p:nvSpPr>
          <p:cNvPr id="31" name="Rounded Rectangle 74"/>
          <p:cNvSpPr/>
          <p:nvPr/>
        </p:nvSpPr>
        <p:spPr>
          <a:xfrm>
            <a:off x="3775377" y="2099573"/>
            <a:ext cx="1249536" cy="760425"/>
          </a:xfrm>
          <a:prstGeom prst="roundRect">
            <a:avLst/>
          </a:prstGeom>
          <a:ln w="9525">
            <a:solidFill>
              <a:srgbClr val="1E5E92"/>
            </a:solidFill>
          </a:ln>
          <a:effectLst/>
        </p:spPr>
        <p:style>
          <a:lnRef idx="2">
            <a:schemeClr val="accent3"/>
          </a:lnRef>
          <a:fillRef idx="1">
            <a:schemeClr val="lt1"/>
          </a:fillRef>
          <a:effectRef idx="0">
            <a:schemeClr val="accent3"/>
          </a:effectRef>
          <a:fontRef idx="minor">
            <a:schemeClr val="dk1"/>
          </a:fontRef>
        </p:style>
        <p:txBody>
          <a:bodyPr lIns="36000" rIns="36000" rtlCol="0" anchor="ctr" anchorCtr="0"/>
          <a:lstStyle/>
          <a:p>
            <a:pPr algn="ctr"/>
            <a:r>
              <a:rPr lang="en-CA" sz="1100" dirty="0">
                <a:solidFill>
                  <a:schemeClr val="tx1"/>
                </a:solidFill>
              </a:rPr>
              <a:t>Define an </a:t>
            </a:r>
            <a:r>
              <a:rPr lang="en-CA" sz="1100" dirty="0" smtClean="0">
                <a:solidFill>
                  <a:schemeClr val="tx1"/>
                </a:solidFill>
              </a:rPr>
              <a:t>Objective </a:t>
            </a:r>
            <a:r>
              <a:rPr lang="en-CA" sz="1100" dirty="0">
                <a:solidFill>
                  <a:schemeClr val="tx1"/>
                </a:solidFill>
              </a:rPr>
              <a:t>I</a:t>
            </a:r>
            <a:r>
              <a:rPr lang="en-CA" sz="1100" dirty="0" smtClean="0">
                <a:solidFill>
                  <a:schemeClr val="tx1"/>
                </a:solidFill>
              </a:rPr>
              <a:t>mpact </a:t>
            </a:r>
            <a:r>
              <a:rPr lang="en-CA" sz="1100" dirty="0">
                <a:solidFill>
                  <a:schemeClr val="tx1"/>
                </a:solidFill>
              </a:rPr>
              <a:t>S</a:t>
            </a:r>
            <a:r>
              <a:rPr lang="en-CA" sz="1100" dirty="0" smtClean="0">
                <a:solidFill>
                  <a:schemeClr val="tx1"/>
                </a:solidFill>
              </a:rPr>
              <a:t>coring </a:t>
            </a:r>
            <a:r>
              <a:rPr lang="en-CA" sz="1100" dirty="0">
                <a:solidFill>
                  <a:schemeClr val="tx1"/>
                </a:solidFill>
              </a:rPr>
              <a:t>S</a:t>
            </a:r>
            <a:r>
              <a:rPr lang="en-CA" sz="1100" dirty="0" smtClean="0">
                <a:solidFill>
                  <a:schemeClr val="tx1"/>
                </a:solidFill>
              </a:rPr>
              <a:t>cale.</a:t>
            </a:r>
            <a:endParaRPr lang="en-US" sz="1100" dirty="0">
              <a:solidFill>
                <a:schemeClr val="tx1"/>
              </a:solidFill>
            </a:endParaRPr>
          </a:p>
        </p:txBody>
      </p:sp>
      <p:sp>
        <p:nvSpPr>
          <p:cNvPr id="32" name="Oval 75"/>
          <p:cNvSpPr/>
          <p:nvPr/>
        </p:nvSpPr>
        <p:spPr>
          <a:xfrm>
            <a:off x="3201796" y="3141014"/>
            <a:ext cx="432000" cy="432000"/>
          </a:xfrm>
          <a:prstGeom prst="ellipse">
            <a:avLst/>
          </a:prstGeom>
          <a:solidFill>
            <a:srgbClr val="519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2.2</a:t>
            </a:r>
          </a:p>
        </p:txBody>
      </p:sp>
      <p:sp>
        <p:nvSpPr>
          <p:cNvPr id="33" name="Oval 76"/>
          <p:cNvSpPr/>
          <p:nvPr/>
        </p:nvSpPr>
        <p:spPr>
          <a:xfrm>
            <a:off x="3201796" y="2263785"/>
            <a:ext cx="432000" cy="432000"/>
          </a:xfrm>
          <a:prstGeom prst="ellipse">
            <a:avLst/>
          </a:prstGeom>
          <a:solidFill>
            <a:srgbClr val="7CADD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2.1</a:t>
            </a:r>
          </a:p>
        </p:txBody>
      </p:sp>
      <p:sp>
        <p:nvSpPr>
          <p:cNvPr id="34" name="Oval 77"/>
          <p:cNvSpPr/>
          <p:nvPr/>
        </p:nvSpPr>
        <p:spPr>
          <a:xfrm>
            <a:off x="3201796" y="4011403"/>
            <a:ext cx="432000" cy="432000"/>
          </a:xfrm>
          <a:prstGeom prst="ellipse">
            <a:avLst/>
          </a:prstGeom>
          <a:solidFill>
            <a:srgbClr val="365D7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2.3</a:t>
            </a:r>
          </a:p>
        </p:txBody>
      </p:sp>
      <p:sp>
        <p:nvSpPr>
          <p:cNvPr id="35" name="Rounded Rectangle 78"/>
          <p:cNvSpPr/>
          <p:nvPr/>
        </p:nvSpPr>
        <p:spPr>
          <a:xfrm>
            <a:off x="3772845" y="3847190"/>
            <a:ext cx="1260281" cy="760426"/>
          </a:xfrm>
          <a:prstGeom prst="roundRect">
            <a:avLst/>
          </a:prstGeom>
          <a:ln w="9525">
            <a:solidFill>
              <a:srgbClr val="16476E"/>
            </a:solidFill>
          </a:ln>
          <a:effectLst/>
        </p:spPr>
        <p:style>
          <a:lnRef idx="1">
            <a:schemeClr val="accent4"/>
          </a:lnRef>
          <a:fillRef idx="2">
            <a:schemeClr val="accent4"/>
          </a:fillRef>
          <a:effectRef idx="1">
            <a:schemeClr val="accent4"/>
          </a:effectRef>
          <a:fontRef idx="minor">
            <a:schemeClr val="dk1"/>
          </a:fontRef>
        </p:style>
        <p:txBody>
          <a:bodyPr lIns="36000" rIns="36000" rtlCol="0" anchor="ctr" anchorCtr="0"/>
          <a:lstStyle/>
          <a:p>
            <a:pPr algn="ctr"/>
            <a:r>
              <a:rPr lang="en-CA" sz="1100" dirty="0">
                <a:solidFill>
                  <a:schemeClr val="tx1"/>
                </a:solidFill>
              </a:rPr>
              <a:t>Determine </a:t>
            </a:r>
            <a:r>
              <a:rPr lang="en-CA" sz="1100" dirty="0" smtClean="0">
                <a:solidFill>
                  <a:schemeClr val="tx1"/>
                </a:solidFill>
              </a:rPr>
              <a:t>Acceptable </a:t>
            </a:r>
            <a:r>
              <a:rPr lang="en-CA" sz="1100" dirty="0">
                <a:solidFill>
                  <a:schemeClr val="tx1"/>
                </a:solidFill>
              </a:rPr>
              <a:t>RTO/RPO T</a:t>
            </a:r>
            <a:r>
              <a:rPr lang="en-CA" sz="1100" dirty="0" smtClean="0">
                <a:solidFill>
                  <a:schemeClr val="tx1"/>
                </a:solidFill>
              </a:rPr>
              <a:t>argets.</a:t>
            </a:r>
            <a:endParaRPr lang="en-US" sz="1100" dirty="0">
              <a:solidFill>
                <a:schemeClr val="tx1"/>
              </a:solidFill>
            </a:endParaRPr>
          </a:p>
        </p:txBody>
      </p:sp>
      <p:cxnSp>
        <p:nvCxnSpPr>
          <p:cNvPr id="36" name="Straight Connector 79"/>
          <p:cNvCxnSpPr/>
          <p:nvPr/>
        </p:nvCxnSpPr>
        <p:spPr>
          <a:xfrm>
            <a:off x="5375286" y="1680816"/>
            <a:ext cx="0" cy="4478221"/>
          </a:xfrm>
          <a:prstGeom prst="line">
            <a:avLst/>
          </a:prstGeom>
          <a:ln/>
          <a:effectLst/>
        </p:spPr>
        <p:style>
          <a:lnRef idx="2">
            <a:schemeClr val="dk1"/>
          </a:lnRef>
          <a:fillRef idx="0">
            <a:schemeClr val="dk1"/>
          </a:fillRef>
          <a:effectRef idx="1">
            <a:schemeClr val="dk1"/>
          </a:effectRef>
          <a:fontRef idx="minor">
            <a:schemeClr val="tx1"/>
          </a:fontRef>
        </p:style>
      </p:cxnSp>
      <p:sp>
        <p:nvSpPr>
          <p:cNvPr id="37" name="Rounded Rectangle 80"/>
          <p:cNvSpPr/>
          <p:nvPr/>
        </p:nvSpPr>
        <p:spPr>
          <a:xfrm>
            <a:off x="5062333" y="1278939"/>
            <a:ext cx="1935231" cy="702318"/>
          </a:xfrm>
          <a:prstGeom prst="roundRect">
            <a:avLst/>
          </a:prstGeom>
          <a:solidFill>
            <a:srgbClr val="29475F"/>
          </a:solidFill>
          <a:ln w="28575">
            <a:noFill/>
          </a:ln>
          <a:effectLst/>
        </p:spPr>
        <p:style>
          <a:lnRef idx="1">
            <a:schemeClr val="dk1"/>
          </a:lnRef>
          <a:fillRef idx="2">
            <a:schemeClr val="dk1"/>
          </a:fillRef>
          <a:effectRef idx="1">
            <a:schemeClr val="dk1"/>
          </a:effectRef>
          <a:fontRef idx="minor">
            <a:schemeClr val="dk1"/>
          </a:fontRef>
        </p:style>
        <p:txBody>
          <a:bodyPr rtlCol="0" anchor="ctr"/>
          <a:lstStyle/>
          <a:p>
            <a:pPr algn="ctr"/>
            <a:r>
              <a:rPr lang="en-CA" sz="1200" b="1" dirty="0">
                <a:solidFill>
                  <a:schemeClr val="bg1"/>
                </a:solidFill>
              </a:rPr>
              <a:t>Phase 3: </a:t>
            </a:r>
            <a:r>
              <a:rPr lang="en-CA" sz="1200" dirty="0">
                <a:solidFill>
                  <a:schemeClr val="bg1"/>
                </a:solidFill>
              </a:rPr>
              <a:t>Identify and </a:t>
            </a:r>
            <a:r>
              <a:rPr lang="en-CA" sz="1200" dirty="0" smtClean="0">
                <a:solidFill>
                  <a:schemeClr val="bg1"/>
                </a:solidFill>
              </a:rPr>
              <a:t>Address </a:t>
            </a:r>
            <a:r>
              <a:rPr lang="en-CA" sz="1200" dirty="0">
                <a:solidFill>
                  <a:schemeClr val="bg1"/>
                </a:solidFill>
              </a:rPr>
              <a:t>G</a:t>
            </a:r>
            <a:r>
              <a:rPr lang="en-CA" sz="1200" dirty="0" smtClean="0">
                <a:solidFill>
                  <a:schemeClr val="bg1"/>
                </a:solidFill>
              </a:rPr>
              <a:t>aps </a:t>
            </a:r>
            <a:r>
              <a:rPr lang="en-CA" sz="1200" dirty="0">
                <a:solidFill>
                  <a:schemeClr val="bg1"/>
                </a:solidFill>
              </a:rPr>
              <a:t>in the </a:t>
            </a:r>
            <a:r>
              <a:rPr lang="en-CA" sz="1200" dirty="0" smtClean="0">
                <a:solidFill>
                  <a:schemeClr val="bg1"/>
                </a:solidFill>
              </a:rPr>
              <a:t>Recovery </a:t>
            </a:r>
            <a:r>
              <a:rPr lang="en-CA" sz="1200" dirty="0">
                <a:solidFill>
                  <a:schemeClr val="bg1"/>
                </a:solidFill>
              </a:rPr>
              <a:t>W</a:t>
            </a:r>
            <a:r>
              <a:rPr lang="en-CA" sz="1200" dirty="0" smtClean="0">
                <a:solidFill>
                  <a:schemeClr val="bg1"/>
                </a:solidFill>
              </a:rPr>
              <a:t>orkflow</a:t>
            </a:r>
            <a:endParaRPr lang="en-CA" sz="1200" dirty="0">
              <a:solidFill>
                <a:schemeClr val="bg1"/>
              </a:solidFill>
            </a:endParaRPr>
          </a:p>
        </p:txBody>
      </p:sp>
      <p:sp>
        <p:nvSpPr>
          <p:cNvPr id="38" name="Rounded Rectangle 81"/>
          <p:cNvSpPr/>
          <p:nvPr/>
        </p:nvSpPr>
        <p:spPr>
          <a:xfrm>
            <a:off x="5737582" y="2976801"/>
            <a:ext cx="1260281" cy="760426"/>
          </a:xfrm>
          <a:prstGeom prst="roundRect">
            <a:avLst/>
          </a:prstGeom>
          <a:ln w="9525">
            <a:solidFill>
              <a:srgbClr val="16476E"/>
            </a:solidFill>
          </a:ln>
          <a:effectLst/>
        </p:spPr>
        <p:style>
          <a:lnRef idx="1">
            <a:schemeClr val="accent4"/>
          </a:lnRef>
          <a:fillRef idx="2">
            <a:schemeClr val="accent4"/>
          </a:fillRef>
          <a:effectRef idx="1">
            <a:schemeClr val="accent4"/>
          </a:effectRef>
          <a:fontRef idx="minor">
            <a:schemeClr val="dk1"/>
          </a:fontRef>
        </p:style>
        <p:txBody>
          <a:bodyPr lIns="36000" rIns="36000" rtlCol="0" anchor="ctr" anchorCtr="0"/>
          <a:lstStyle/>
          <a:p>
            <a:pPr algn="ctr"/>
            <a:r>
              <a:rPr lang="en-CA" sz="1100" dirty="0">
                <a:solidFill>
                  <a:schemeClr val="tx1"/>
                </a:solidFill>
              </a:rPr>
              <a:t>Identify and </a:t>
            </a:r>
            <a:r>
              <a:rPr lang="en-CA" sz="1100" dirty="0" smtClean="0">
                <a:solidFill>
                  <a:schemeClr val="tx1"/>
                </a:solidFill>
              </a:rPr>
              <a:t>Prioritize </a:t>
            </a:r>
            <a:r>
              <a:rPr lang="en-CA" sz="1100" dirty="0">
                <a:solidFill>
                  <a:schemeClr val="tx1"/>
                </a:solidFill>
              </a:rPr>
              <a:t>P</a:t>
            </a:r>
            <a:r>
              <a:rPr lang="en-CA" sz="1100" dirty="0" smtClean="0">
                <a:solidFill>
                  <a:schemeClr val="tx1"/>
                </a:solidFill>
              </a:rPr>
              <a:t>rojects </a:t>
            </a:r>
            <a:r>
              <a:rPr lang="en-CA" sz="1100" dirty="0">
                <a:solidFill>
                  <a:schemeClr val="tx1"/>
                </a:solidFill>
              </a:rPr>
              <a:t>to </a:t>
            </a:r>
            <a:r>
              <a:rPr lang="en-CA" sz="1100" dirty="0" smtClean="0">
                <a:solidFill>
                  <a:schemeClr val="tx1"/>
                </a:solidFill>
              </a:rPr>
              <a:t>Close </a:t>
            </a:r>
            <a:r>
              <a:rPr lang="en-CA" sz="1100" dirty="0">
                <a:solidFill>
                  <a:schemeClr val="tx1"/>
                </a:solidFill>
              </a:rPr>
              <a:t>G</a:t>
            </a:r>
            <a:r>
              <a:rPr lang="en-CA" sz="1100" dirty="0" smtClean="0">
                <a:solidFill>
                  <a:schemeClr val="tx1"/>
                </a:solidFill>
              </a:rPr>
              <a:t>aps.</a:t>
            </a:r>
            <a:endParaRPr lang="en-US" sz="1100" dirty="0">
              <a:solidFill>
                <a:schemeClr val="tx1"/>
              </a:solidFill>
            </a:endParaRPr>
          </a:p>
        </p:txBody>
      </p:sp>
      <p:sp>
        <p:nvSpPr>
          <p:cNvPr id="39" name="Rounded Rectangle 82"/>
          <p:cNvSpPr/>
          <p:nvPr/>
        </p:nvSpPr>
        <p:spPr>
          <a:xfrm>
            <a:off x="5737582" y="2099573"/>
            <a:ext cx="1249536" cy="760425"/>
          </a:xfrm>
          <a:prstGeom prst="roundRect">
            <a:avLst/>
          </a:prstGeom>
          <a:ln w="9525">
            <a:solidFill>
              <a:srgbClr val="1E5E92"/>
            </a:solidFill>
          </a:ln>
          <a:effectLst/>
        </p:spPr>
        <p:style>
          <a:lnRef idx="2">
            <a:schemeClr val="accent3"/>
          </a:lnRef>
          <a:fillRef idx="1">
            <a:schemeClr val="lt1"/>
          </a:fillRef>
          <a:effectRef idx="0">
            <a:schemeClr val="accent3"/>
          </a:effectRef>
          <a:fontRef idx="minor">
            <a:schemeClr val="dk1"/>
          </a:fontRef>
        </p:style>
        <p:txBody>
          <a:bodyPr lIns="36000" rIns="36000" rtlCol="0" anchor="ctr" anchorCtr="0"/>
          <a:lstStyle/>
          <a:p>
            <a:pPr algn="ctr">
              <a:spcBef>
                <a:spcPts val="300"/>
              </a:spcBef>
              <a:spcAft>
                <a:spcPts val="300"/>
              </a:spcAft>
            </a:pPr>
            <a:r>
              <a:rPr lang="en-CA" sz="1100" dirty="0">
                <a:solidFill>
                  <a:schemeClr val="tx1"/>
                </a:solidFill>
              </a:rPr>
              <a:t>Determine </a:t>
            </a:r>
            <a:r>
              <a:rPr lang="en-CA" sz="1100" dirty="0" smtClean="0">
                <a:solidFill>
                  <a:schemeClr val="tx1"/>
                </a:solidFill>
              </a:rPr>
              <a:t>Current </a:t>
            </a:r>
            <a:r>
              <a:rPr lang="en-CA" sz="1100" dirty="0">
                <a:solidFill>
                  <a:schemeClr val="tx1"/>
                </a:solidFill>
              </a:rPr>
              <a:t>R</a:t>
            </a:r>
            <a:r>
              <a:rPr lang="en-CA" sz="1100" dirty="0" smtClean="0">
                <a:solidFill>
                  <a:schemeClr val="tx1"/>
                </a:solidFill>
              </a:rPr>
              <a:t>ecovery </a:t>
            </a:r>
            <a:r>
              <a:rPr lang="en-CA" sz="1100" dirty="0">
                <a:solidFill>
                  <a:schemeClr val="tx1"/>
                </a:solidFill>
              </a:rPr>
              <a:t>W</a:t>
            </a:r>
            <a:r>
              <a:rPr lang="en-CA" sz="1100" dirty="0" smtClean="0">
                <a:solidFill>
                  <a:schemeClr val="tx1"/>
                </a:solidFill>
              </a:rPr>
              <a:t>orkflow.</a:t>
            </a:r>
            <a:endParaRPr lang="en-CA" sz="1100" dirty="0">
              <a:solidFill>
                <a:schemeClr val="tx1"/>
              </a:solidFill>
            </a:endParaRPr>
          </a:p>
        </p:txBody>
      </p:sp>
      <p:sp>
        <p:nvSpPr>
          <p:cNvPr id="40" name="Oval 83"/>
          <p:cNvSpPr/>
          <p:nvPr/>
        </p:nvSpPr>
        <p:spPr>
          <a:xfrm>
            <a:off x="5164001" y="3141014"/>
            <a:ext cx="432000" cy="432000"/>
          </a:xfrm>
          <a:prstGeom prst="ellipse">
            <a:avLst/>
          </a:prstGeom>
          <a:solidFill>
            <a:srgbClr val="5191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3.2</a:t>
            </a:r>
          </a:p>
        </p:txBody>
      </p:sp>
      <p:sp>
        <p:nvSpPr>
          <p:cNvPr id="41" name="Oval 84"/>
          <p:cNvSpPr/>
          <p:nvPr/>
        </p:nvSpPr>
        <p:spPr>
          <a:xfrm>
            <a:off x="5164001" y="2263785"/>
            <a:ext cx="432000" cy="432000"/>
          </a:xfrm>
          <a:prstGeom prst="ellipse">
            <a:avLst/>
          </a:prstGeom>
          <a:solidFill>
            <a:srgbClr val="7CADD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3.1</a:t>
            </a:r>
          </a:p>
        </p:txBody>
      </p:sp>
      <p:sp>
        <p:nvSpPr>
          <p:cNvPr id="42" name="Oval 85"/>
          <p:cNvSpPr/>
          <p:nvPr/>
        </p:nvSpPr>
        <p:spPr>
          <a:xfrm>
            <a:off x="5164001" y="4011403"/>
            <a:ext cx="432000" cy="432000"/>
          </a:xfrm>
          <a:prstGeom prst="ellipse">
            <a:avLst/>
          </a:prstGeom>
          <a:solidFill>
            <a:srgbClr val="365D7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3.3</a:t>
            </a:r>
          </a:p>
        </p:txBody>
      </p:sp>
      <p:sp>
        <p:nvSpPr>
          <p:cNvPr id="43" name="Rounded Rectangle 86"/>
          <p:cNvSpPr/>
          <p:nvPr/>
        </p:nvSpPr>
        <p:spPr>
          <a:xfrm>
            <a:off x="5735050" y="3847190"/>
            <a:ext cx="1260281" cy="760426"/>
          </a:xfrm>
          <a:prstGeom prst="roundRect">
            <a:avLst/>
          </a:prstGeom>
          <a:ln w="9525">
            <a:solidFill>
              <a:srgbClr val="16476E"/>
            </a:solidFill>
          </a:ln>
          <a:effectLst/>
        </p:spPr>
        <p:style>
          <a:lnRef idx="1">
            <a:schemeClr val="accent4"/>
          </a:lnRef>
          <a:fillRef idx="2">
            <a:schemeClr val="accent4"/>
          </a:fillRef>
          <a:effectRef idx="1">
            <a:schemeClr val="accent4"/>
          </a:effectRef>
          <a:fontRef idx="minor">
            <a:schemeClr val="dk1"/>
          </a:fontRef>
        </p:style>
        <p:txBody>
          <a:bodyPr lIns="36000" rIns="36000" rtlCol="0" anchor="ctr" anchorCtr="0"/>
          <a:lstStyle/>
          <a:p>
            <a:pPr algn="ctr"/>
            <a:r>
              <a:rPr lang="en-CA" sz="1100" dirty="0">
                <a:solidFill>
                  <a:schemeClr val="tx1"/>
                </a:solidFill>
              </a:rPr>
              <a:t>Review the </a:t>
            </a:r>
            <a:r>
              <a:rPr lang="en-CA" sz="1100" dirty="0" smtClean="0">
                <a:solidFill>
                  <a:schemeClr val="tx1"/>
                </a:solidFill>
              </a:rPr>
              <a:t>Future </a:t>
            </a:r>
            <a:r>
              <a:rPr lang="en-CA" sz="1100" dirty="0">
                <a:solidFill>
                  <a:schemeClr val="tx1"/>
                </a:solidFill>
              </a:rPr>
              <a:t>S</a:t>
            </a:r>
            <a:r>
              <a:rPr lang="en-CA" sz="1100" dirty="0" smtClean="0">
                <a:solidFill>
                  <a:schemeClr val="tx1"/>
                </a:solidFill>
              </a:rPr>
              <a:t>tate </a:t>
            </a:r>
            <a:r>
              <a:rPr lang="en-CA" sz="1100" dirty="0">
                <a:solidFill>
                  <a:schemeClr val="tx1"/>
                </a:solidFill>
              </a:rPr>
              <a:t>R</a:t>
            </a:r>
            <a:r>
              <a:rPr lang="en-CA" sz="1100" dirty="0" smtClean="0">
                <a:solidFill>
                  <a:schemeClr val="tx1"/>
                </a:solidFill>
              </a:rPr>
              <a:t>ecovery </a:t>
            </a:r>
            <a:r>
              <a:rPr lang="en-CA" sz="1100" dirty="0">
                <a:solidFill>
                  <a:schemeClr val="tx1"/>
                </a:solidFill>
              </a:rPr>
              <a:t>W</a:t>
            </a:r>
            <a:r>
              <a:rPr lang="en-CA" sz="1100" dirty="0" smtClean="0">
                <a:solidFill>
                  <a:schemeClr val="tx1"/>
                </a:solidFill>
              </a:rPr>
              <a:t>orkflow.</a:t>
            </a:r>
            <a:endParaRPr lang="en-US" sz="1100" dirty="0">
              <a:solidFill>
                <a:schemeClr val="tx1"/>
              </a:solidFill>
            </a:endParaRPr>
          </a:p>
        </p:txBody>
      </p:sp>
      <p:cxnSp>
        <p:nvCxnSpPr>
          <p:cNvPr id="44" name="Straight Connector 87"/>
          <p:cNvCxnSpPr/>
          <p:nvPr/>
        </p:nvCxnSpPr>
        <p:spPr>
          <a:xfrm>
            <a:off x="7330735" y="3740496"/>
            <a:ext cx="0" cy="1297181"/>
          </a:xfrm>
          <a:prstGeom prst="line">
            <a:avLst/>
          </a:prstGeom>
          <a:ln/>
          <a:effectLst/>
        </p:spPr>
        <p:style>
          <a:lnRef idx="2">
            <a:schemeClr val="dk1"/>
          </a:lnRef>
          <a:fillRef idx="0">
            <a:schemeClr val="dk1"/>
          </a:fillRef>
          <a:effectRef idx="1">
            <a:schemeClr val="dk1"/>
          </a:effectRef>
          <a:fontRef idx="minor">
            <a:schemeClr val="tx1"/>
          </a:fontRef>
        </p:style>
      </p:cxnSp>
      <p:sp>
        <p:nvSpPr>
          <p:cNvPr id="52" name="Rectangle 89"/>
          <p:cNvSpPr/>
          <p:nvPr/>
        </p:nvSpPr>
        <p:spPr>
          <a:xfrm>
            <a:off x="1252208" y="4676012"/>
            <a:ext cx="5743122" cy="450000"/>
          </a:xfrm>
          <a:prstGeom prst="rect">
            <a:avLst/>
          </a:prstGeom>
          <a:solidFill>
            <a:srgbClr val="CBDBE7"/>
          </a:solidFill>
          <a:ln>
            <a:solidFill>
              <a:srgbClr val="825800"/>
            </a:solidFill>
          </a:ln>
          <a:effectLst/>
        </p:spPr>
        <p:style>
          <a:lnRef idx="1">
            <a:schemeClr val="accent2"/>
          </a:lnRef>
          <a:fillRef idx="2">
            <a:schemeClr val="accent2"/>
          </a:fillRef>
          <a:effectRef idx="1">
            <a:schemeClr val="accent2"/>
          </a:effectRef>
          <a:fontRef idx="minor">
            <a:schemeClr val="dk1"/>
          </a:fontRef>
        </p:style>
        <p:txBody>
          <a:bodyPr rtlCol="0" anchor="ctr"/>
          <a:lstStyle/>
          <a:p>
            <a:pPr algn="ctr"/>
            <a:r>
              <a:rPr lang="en-CA" sz="1200" i="1" dirty="0">
                <a:solidFill>
                  <a:schemeClr val="tx1"/>
                </a:solidFill>
                <a:hlinkClick r:id="rId4"/>
              </a:rPr>
              <a:t>DRP Business Impact Analysis Tool</a:t>
            </a:r>
            <a:endParaRPr lang="en-CA" sz="1200" i="1" dirty="0">
              <a:solidFill>
                <a:schemeClr val="tx1"/>
              </a:solidFill>
            </a:endParaRPr>
          </a:p>
        </p:txBody>
      </p:sp>
      <p:sp>
        <p:nvSpPr>
          <p:cNvPr id="53" name="Rectangle 90"/>
          <p:cNvSpPr/>
          <p:nvPr/>
        </p:nvSpPr>
        <p:spPr>
          <a:xfrm>
            <a:off x="5147577" y="5646165"/>
            <a:ext cx="1839541" cy="332802"/>
          </a:xfrm>
          <a:prstGeom prst="rect">
            <a:avLst/>
          </a:prstGeom>
          <a:solidFill>
            <a:srgbClr val="CBDBE7"/>
          </a:solidFill>
          <a:ln>
            <a:solidFill>
              <a:srgbClr val="825800"/>
            </a:solidFill>
          </a:ln>
          <a:effectLst/>
        </p:spPr>
        <p:style>
          <a:lnRef idx="1">
            <a:schemeClr val="accent2"/>
          </a:lnRef>
          <a:fillRef idx="2">
            <a:schemeClr val="accent2"/>
          </a:fillRef>
          <a:effectRef idx="1">
            <a:schemeClr val="accent2"/>
          </a:effectRef>
          <a:fontRef idx="minor">
            <a:schemeClr val="dk1"/>
          </a:fontRef>
        </p:style>
        <p:txBody>
          <a:bodyPr rtlCol="0" anchor="ctr"/>
          <a:lstStyle/>
          <a:p>
            <a:pPr algn="ctr"/>
            <a:r>
              <a:rPr lang="en-CA" sz="1200" i="1" dirty="0">
                <a:solidFill>
                  <a:schemeClr val="tx1"/>
                </a:solidFill>
                <a:hlinkClick r:id="rId5"/>
              </a:rPr>
              <a:t>DRP </a:t>
            </a:r>
            <a:r>
              <a:rPr lang="en-CA" sz="1200" i="1" dirty="0" smtClean="0">
                <a:solidFill>
                  <a:schemeClr val="tx1"/>
                </a:solidFill>
                <a:hlinkClick r:id="rId5"/>
              </a:rPr>
              <a:t>Roadmap Tool</a:t>
            </a:r>
            <a:endParaRPr lang="en-CA" sz="1200" i="1" dirty="0">
              <a:solidFill>
                <a:schemeClr val="tx1"/>
              </a:solidFill>
            </a:endParaRPr>
          </a:p>
        </p:txBody>
      </p:sp>
      <p:sp>
        <p:nvSpPr>
          <p:cNvPr id="54" name="Rectangle 91"/>
          <p:cNvSpPr/>
          <p:nvPr/>
        </p:nvSpPr>
        <p:spPr>
          <a:xfrm>
            <a:off x="5147576" y="5165540"/>
            <a:ext cx="1839542" cy="450000"/>
          </a:xfrm>
          <a:prstGeom prst="rect">
            <a:avLst/>
          </a:prstGeom>
          <a:solidFill>
            <a:srgbClr val="CBDBE7"/>
          </a:solidFill>
          <a:ln>
            <a:solidFill>
              <a:srgbClr val="825800"/>
            </a:solidFill>
          </a:ln>
          <a:effectLst/>
        </p:spPr>
        <p:style>
          <a:lnRef idx="1">
            <a:schemeClr val="accent2"/>
          </a:lnRef>
          <a:fillRef idx="2">
            <a:schemeClr val="accent2"/>
          </a:fillRef>
          <a:effectRef idx="1">
            <a:schemeClr val="accent2"/>
          </a:effectRef>
          <a:fontRef idx="minor">
            <a:schemeClr val="dk1"/>
          </a:fontRef>
        </p:style>
        <p:txBody>
          <a:bodyPr rtlCol="0" anchor="ctr"/>
          <a:lstStyle/>
          <a:p>
            <a:pPr algn="ctr"/>
            <a:r>
              <a:rPr lang="en-CA" sz="1200" i="1" dirty="0">
                <a:solidFill>
                  <a:schemeClr val="tx1"/>
                </a:solidFill>
                <a:hlinkClick r:id="rId6"/>
              </a:rPr>
              <a:t>DRP Recovery Workflow Template</a:t>
            </a:r>
            <a:endParaRPr lang="en-CA" sz="1200" i="1" dirty="0">
              <a:solidFill>
                <a:schemeClr val="tx1"/>
              </a:solidFill>
            </a:endParaRPr>
          </a:p>
        </p:txBody>
      </p:sp>
      <p:sp>
        <p:nvSpPr>
          <p:cNvPr id="56" name="Rectangle 93"/>
          <p:cNvSpPr/>
          <p:nvPr/>
        </p:nvSpPr>
        <p:spPr>
          <a:xfrm>
            <a:off x="1252208" y="5526714"/>
            <a:ext cx="1948130" cy="450000"/>
          </a:xfrm>
          <a:prstGeom prst="rect">
            <a:avLst/>
          </a:prstGeom>
          <a:solidFill>
            <a:srgbClr val="CBDBE7"/>
          </a:solidFill>
          <a:ln>
            <a:solidFill>
              <a:srgbClr val="825800"/>
            </a:solidFill>
          </a:ln>
          <a:effectLst/>
        </p:spPr>
        <p:style>
          <a:lnRef idx="1">
            <a:schemeClr val="accent2"/>
          </a:lnRef>
          <a:fillRef idx="2">
            <a:schemeClr val="accent2"/>
          </a:fillRef>
          <a:effectRef idx="1">
            <a:schemeClr val="accent2"/>
          </a:effectRef>
          <a:fontRef idx="minor">
            <a:schemeClr val="dk1"/>
          </a:fontRef>
        </p:style>
        <p:txBody>
          <a:bodyPr rtlCol="0" anchor="ctr"/>
          <a:lstStyle/>
          <a:p>
            <a:pPr algn="ctr"/>
            <a:r>
              <a:rPr lang="en-CA" sz="1200" i="1" dirty="0">
                <a:solidFill>
                  <a:schemeClr val="tx1"/>
                </a:solidFill>
                <a:hlinkClick r:id="rId7"/>
              </a:rPr>
              <a:t>BCP-DRP Fitness Assessment</a:t>
            </a:r>
            <a:endParaRPr lang="en-CA" sz="1200" i="1" dirty="0">
              <a:solidFill>
                <a:schemeClr val="tx1"/>
              </a:solidFill>
            </a:endParaRPr>
          </a:p>
        </p:txBody>
      </p:sp>
      <p:sp>
        <p:nvSpPr>
          <p:cNvPr id="58" name="Rectangle 94"/>
          <p:cNvSpPr/>
          <p:nvPr/>
        </p:nvSpPr>
        <p:spPr>
          <a:xfrm>
            <a:off x="7121981" y="4676013"/>
            <a:ext cx="1831330" cy="450000"/>
          </a:xfrm>
          <a:prstGeom prst="rect">
            <a:avLst/>
          </a:prstGeom>
          <a:solidFill>
            <a:srgbClr val="CBDBE7"/>
          </a:solidFill>
          <a:ln>
            <a:solidFill>
              <a:srgbClr val="825800"/>
            </a:solidFill>
          </a:ln>
          <a:effectLst/>
        </p:spPr>
        <p:style>
          <a:lnRef idx="1">
            <a:schemeClr val="accent2"/>
          </a:lnRef>
          <a:fillRef idx="2">
            <a:schemeClr val="accent2"/>
          </a:fillRef>
          <a:effectRef idx="1">
            <a:schemeClr val="accent2"/>
          </a:effectRef>
          <a:fontRef idx="minor">
            <a:schemeClr val="dk1"/>
          </a:fontRef>
        </p:style>
        <p:txBody>
          <a:bodyPr rtlCol="0" anchor="ctr"/>
          <a:lstStyle/>
          <a:p>
            <a:pPr algn="ctr"/>
            <a:r>
              <a:rPr lang="en-CA" sz="1200" i="1" dirty="0" smtClean="0">
                <a:solidFill>
                  <a:schemeClr val="tx1"/>
                </a:solidFill>
                <a:hlinkClick r:id="rId8"/>
              </a:rPr>
              <a:t>Case Study: Practical, Right-Sized DRP</a:t>
            </a:r>
            <a:endParaRPr lang="en-CA" sz="1200" i="1" dirty="0">
              <a:solidFill>
                <a:schemeClr val="tx1"/>
              </a:solidFill>
            </a:endParaRPr>
          </a:p>
        </p:txBody>
      </p:sp>
      <p:sp>
        <p:nvSpPr>
          <p:cNvPr id="59" name="Rectangle 95"/>
          <p:cNvSpPr/>
          <p:nvPr/>
        </p:nvSpPr>
        <p:spPr>
          <a:xfrm>
            <a:off x="1252208" y="6014257"/>
            <a:ext cx="1948130" cy="409372"/>
          </a:xfrm>
          <a:prstGeom prst="rect">
            <a:avLst/>
          </a:prstGeom>
          <a:solidFill>
            <a:srgbClr val="CBDBE7"/>
          </a:solidFill>
          <a:ln>
            <a:solidFill>
              <a:srgbClr val="825800"/>
            </a:solidFill>
          </a:ln>
          <a:effectLst/>
        </p:spPr>
        <p:style>
          <a:lnRef idx="1">
            <a:schemeClr val="accent2"/>
          </a:lnRef>
          <a:fillRef idx="2">
            <a:schemeClr val="accent2"/>
          </a:fillRef>
          <a:effectRef idx="1">
            <a:schemeClr val="accent2"/>
          </a:effectRef>
          <a:fontRef idx="minor">
            <a:schemeClr val="dk1"/>
          </a:fontRef>
        </p:style>
        <p:txBody>
          <a:bodyPr rtlCol="0" anchor="ctr"/>
          <a:lstStyle/>
          <a:p>
            <a:pPr algn="ctr"/>
            <a:r>
              <a:rPr lang="en-CA" sz="1200" i="1" dirty="0">
                <a:solidFill>
                  <a:schemeClr val="tx1"/>
                </a:solidFill>
                <a:hlinkClick r:id="rId9"/>
              </a:rPr>
              <a:t>DRP Project </a:t>
            </a:r>
            <a:r>
              <a:rPr lang="en-CA" sz="1200" i="1" dirty="0" smtClean="0">
                <a:solidFill>
                  <a:schemeClr val="tx1"/>
                </a:solidFill>
                <a:hlinkClick r:id="rId9"/>
              </a:rPr>
              <a:t>Charter Template</a:t>
            </a:r>
            <a:endParaRPr lang="en-CA" sz="1200" i="1" dirty="0">
              <a:solidFill>
                <a:schemeClr val="tx1"/>
              </a:solidFill>
            </a:endParaRPr>
          </a:p>
        </p:txBody>
      </p:sp>
      <p:grpSp>
        <p:nvGrpSpPr>
          <p:cNvPr id="6" name="Group 5">
            <a:extLst>
              <a:ext uri="{FF2B5EF4-FFF2-40B4-BE49-F238E27FC236}">
                <a16:creationId xmlns="" xmlns:a16="http://schemas.microsoft.com/office/drawing/2014/main" id="{F943F682-BC03-4D2E-B4D9-5CE57B06486A}"/>
              </a:ext>
            </a:extLst>
          </p:cNvPr>
          <p:cNvGrpSpPr/>
          <p:nvPr/>
        </p:nvGrpSpPr>
        <p:grpSpPr>
          <a:xfrm>
            <a:off x="7208848" y="2164361"/>
            <a:ext cx="1744463" cy="2279042"/>
            <a:chOff x="7208848" y="2164361"/>
            <a:chExt cx="1744463" cy="2279042"/>
          </a:xfrm>
        </p:grpSpPr>
        <p:sp>
          <p:nvSpPr>
            <p:cNvPr id="45" name="Rounded Rectangle 88"/>
            <p:cNvSpPr/>
            <p:nvPr/>
          </p:nvSpPr>
          <p:spPr>
            <a:xfrm>
              <a:off x="7208849" y="2396971"/>
              <a:ext cx="1744462" cy="2046432"/>
            </a:xfrm>
            <a:prstGeom prst="roundRect">
              <a:avLst/>
            </a:prstGeom>
            <a:ln w="9525">
              <a:solidFill>
                <a:srgbClr val="1E5E92"/>
              </a:solidFill>
            </a:ln>
            <a:effectLst/>
          </p:spPr>
          <p:style>
            <a:lnRef idx="2">
              <a:schemeClr val="accent3"/>
            </a:lnRef>
            <a:fillRef idx="1">
              <a:schemeClr val="lt1"/>
            </a:fillRef>
            <a:effectRef idx="0">
              <a:schemeClr val="accent3"/>
            </a:effectRef>
            <a:fontRef idx="minor">
              <a:schemeClr val="dk1"/>
            </a:fontRef>
          </p:style>
          <p:txBody>
            <a:bodyPr lIns="36000" rIns="36000" rtlCol="0" anchor="t" anchorCtr="0"/>
            <a:lstStyle/>
            <a:p>
              <a:pPr algn="ctr"/>
              <a:endParaRPr lang="en-CA" sz="1150" dirty="0">
                <a:solidFill>
                  <a:schemeClr val="tx1"/>
                </a:solidFill>
              </a:endParaRPr>
            </a:p>
            <a:p>
              <a:pPr algn="ctr"/>
              <a:endParaRPr lang="en-CA" sz="1150" dirty="0">
                <a:solidFill>
                  <a:schemeClr val="tx1"/>
                </a:solidFill>
              </a:endParaRPr>
            </a:p>
            <a:p>
              <a:pPr algn="ctr"/>
              <a:r>
                <a:rPr lang="en-US" sz="1200" dirty="0">
                  <a:solidFill>
                    <a:schemeClr val="tx1"/>
                  </a:solidFill>
                </a:rPr>
                <a:t>Complete, </a:t>
              </a:r>
              <a:r>
                <a:rPr lang="en-US" sz="1200" dirty="0" smtClean="0">
                  <a:solidFill>
                    <a:schemeClr val="tx1"/>
                  </a:solidFill>
                </a:rPr>
                <a:t>Extend</a:t>
              </a:r>
              <a:r>
                <a:rPr lang="en-US" sz="1200" dirty="0">
                  <a:solidFill>
                    <a:schemeClr val="tx1"/>
                  </a:solidFill>
                </a:rPr>
                <a:t>, and </a:t>
              </a:r>
              <a:r>
                <a:rPr lang="en-US" sz="1200" dirty="0" smtClean="0">
                  <a:solidFill>
                    <a:schemeClr val="tx1"/>
                  </a:solidFill>
                </a:rPr>
                <a:t>Maintain </a:t>
              </a:r>
              <a:r>
                <a:rPr lang="en-US" sz="1200" dirty="0">
                  <a:solidFill>
                    <a:schemeClr val="tx1"/>
                  </a:solidFill>
                </a:rPr>
                <a:t>Y</a:t>
              </a:r>
              <a:r>
                <a:rPr lang="en-US" sz="1200" dirty="0" smtClean="0">
                  <a:solidFill>
                    <a:schemeClr val="tx1"/>
                  </a:solidFill>
                </a:rPr>
                <a:t>our DRP.</a:t>
              </a:r>
              <a:endParaRPr lang="en-US" sz="1200" dirty="0">
                <a:solidFill>
                  <a:schemeClr val="tx1"/>
                </a:solidFill>
              </a:endParaRPr>
            </a:p>
          </p:txBody>
        </p:sp>
        <p:sp>
          <p:nvSpPr>
            <p:cNvPr id="65" name="Rounded Rectangle 80">
              <a:extLst>
                <a:ext uri="{FF2B5EF4-FFF2-40B4-BE49-F238E27FC236}">
                  <a16:creationId xmlns="" xmlns:a16="http://schemas.microsoft.com/office/drawing/2014/main" id="{770157B1-9B85-4DC4-84D9-3FD3D8943539}"/>
                </a:ext>
              </a:extLst>
            </p:cNvPr>
            <p:cNvSpPr/>
            <p:nvPr/>
          </p:nvSpPr>
          <p:spPr>
            <a:xfrm>
              <a:off x="7208848" y="2164361"/>
              <a:ext cx="1333571" cy="540892"/>
            </a:xfrm>
            <a:prstGeom prst="roundRect">
              <a:avLst>
                <a:gd name="adj" fmla="val 50000"/>
              </a:avLst>
            </a:prstGeom>
            <a:solidFill>
              <a:srgbClr val="29475F"/>
            </a:solidFill>
            <a:ln w="28575">
              <a:noFill/>
            </a:ln>
            <a:effectLst/>
          </p:spPr>
          <p:style>
            <a:lnRef idx="1">
              <a:schemeClr val="dk1"/>
            </a:lnRef>
            <a:fillRef idx="2">
              <a:schemeClr val="dk1"/>
            </a:fillRef>
            <a:effectRef idx="1">
              <a:schemeClr val="dk1"/>
            </a:effectRef>
            <a:fontRef idx="minor">
              <a:schemeClr val="dk1"/>
            </a:fontRef>
          </p:style>
          <p:txBody>
            <a:bodyPr rtlCol="0" anchor="ctr"/>
            <a:lstStyle/>
            <a:p>
              <a:pPr algn="ctr"/>
              <a:r>
                <a:rPr lang="en-US" sz="1400" b="1" dirty="0" smtClean="0">
                  <a:solidFill>
                    <a:schemeClr val="bg1"/>
                  </a:solidFill>
                </a:rPr>
                <a:t> </a:t>
              </a:r>
              <a:r>
                <a:rPr lang="en-US" sz="1200" b="1" dirty="0" smtClean="0">
                  <a:solidFill>
                    <a:schemeClr val="bg1"/>
                  </a:solidFill>
                </a:rPr>
                <a:t>Phase 4</a:t>
              </a:r>
              <a:endParaRPr lang="en-CA" sz="1200" b="1" dirty="0">
                <a:solidFill>
                  <a:schemeClr val="bg1"/>
                </a:solidFill>
              </a:endParaRPr>
            </a:p>
          </p:txBody>
        </p:sp>
      </p:grpSp>
      <p:sp>
        <p:nvSpPr>
          <p:cNvPr id="57" name="Rectangle 90">
            <a:extLst>
              <a:ext uri="{FF2B5EF4-FFF2-40B4-BE49-F238E27FC236}">
                <a16:creationId xmlns="" xmlns:a16="http://schemas.microsoft.com/office/drawing/2014/main" id="{15E1B816-CD4F-48FB-A283-5DE21F2D79E3}"/>
              </a:ext>
            </a:extLst>
          </p:cNvPr>
          <p:cNvSpPr/>
          <p:nvPr/>
        </p:nvSpPr>
        <p:spPr>
          <a:xfrm>
            <a:off x="5147577" y="6015604"/>
            <a:ext cx="1839541" cy="408025"/>
          </a:xfrm>
          <a:prstGeom prst="rect">
            <a:avLst/>
          </a:prstGeom>
          <a:solidFill>
            <a:srgbClr val="CBDBE7"/>
          </a:solidFill>
          <a:ln>
            <a:solidFill>
              <a:srgbClr val="825800"/>
            </a:solidFill>
          </a:ln>
          <a:effectLst/>
        </p:spPr>
        <p:style>
          <a:lnRef idx="1">
            <a:schemeClr val="accent2"/>
          </a:lnRef>
          <a:fillRef idx="2">
            <a:schemeClr val="accent2"/>
          </a:fillRef>
          <a:effectRef idx="1">
            <a:schemeClr val="accent2"/>
          </a:effectRef>
          <a:fontRef idx="minor">
            <a:schemeClr val="dk1"/>
          </a:fontRef>
        </p:style>
        <p:txBody>
          <a:bodyPr rtlCol="0" anchor="ctr"/>
          <a:lstStyle/>
          <a:p>
            <a:pPr algn="ctr"/>
            <a:r>
              <a:rPr lang="en-CA" sz="1200" i="1" dirty="0">
                <a:solidFill>
                  <a:schemeClr val="tx1"/>
                </a:solidFill>
                <a:hlinkClick r:id="rId10"/>
              </a:rPr>
              <a:t>DRP Recap </a:t>
            </a:r>
            <a:r>
              <a:rPr lang="en-CA" sz="1200" i="1" dirty="0" smtClean="0">
                <a:solidFill>
                  <a:schemeClr val="tx1"/>
                </a:solidFill>
                <a:hlinkClick r:id="rId10"/>
              </a:rPr>
              <a:t>and Results Template</a:t>
            </a:r>
            <a:endParaRPr lang="en-CA" sz="1200" i="1" dirty="0">
              <a:solidFill>
                <a:schemeClr val="tx1"/>
              </a:solidFill>
            </a:endParaRPr>
          </a:p>
        </p:txBody>
      </p:sp>
      <p:sp>
        <p:nvSpPr>
          <p:cNvPr id="51" name="Rectangle 68">
            <a:extLst>
              <a:ext uri="{FF2B5EF4-FFF2-40B4-BE49-F238E27FC236}">
                <a16:creationId xmlns="" xmlns:a16="http://schemas.microsoft.com/office/drawing/2014/main" id="{EEA374C4-DADA-4F42-AF34-96E65B0EA34D}"/>
              </a:ext>
            </a:extLst>
          </p:cNvPr>
          <p:cNvSpPr/>
          <p:nvPr/>
        </p:nvSpPr>
        <p:spPr>
          <a:xfrm>
            <a:off x="3262879" y="5165121"/>
            <a:ext cx="1770248" cy="450000"/>
          </a:xfrm>
          <a:prstGeom prst="rect">
            <a:avLst/>
          </a:prstGeom>
          <a:solidFill>
            <a:srgbClr val="CBDBE7"/>
          </a:solidFill>
          <a:ln>
            <a:solidFill>
              <a:srgbClr val="825800"/>
            </a:solidFill>
          </a:ln>
          <a:effectLst/>
        </p:spPr>
        <p:style>
          <a:lnRef idx="1">
            <a:schemeClr val="accent2"/>
          </a:lnRef>
          <a:fillRef idx="2">
            <a:schemeClr val="accent2"/>
          </a:fillRef>
          <a:effectRef idx="1">
            <a:schemeClr val="accent2"/>
          </a:effectRef>
          <a:fontRef idx="minor">
            <a:schemeClr val="dk1"/>
          </a:fontRef>
        </p:style>
        <p:txBody>
          <a:bodyPr rtlCol="0" anchor="ctr"/>
          <a:lstStyle/>
          <a:p>
            <a:pPr algn="ctr"/>
            <a:r>
              <a:rPr lang="en-CA" sz="1200" i="1" dirty="0">
                <a:solidFill>
                  <a:schemeClr val="tx1"/>
                </a:solidFill>
                <a:hlinkClick r:id="rId11"/>
              </a:rPr>
              <a:t>DRP BIA </a:t>
            </a:r>
            <a:r>
              <a:rPr lang="en-CA" sz="1200" i="1" dirty="0" smtClean="0">
                <a:solidFill>
                  <a:schemeClr val="tx1"/>
                </a:solidFill>
                <a:hlinkClick r:id="rId11"/>
              </a:rPr>
              <a:t>Scoring Context Example</a:t>
            </a:r>
            <a:endParaRPr lang="en-CA" sz="1200" i="1" dirty="0">
              <a:solidFill>
                <a:schemeClr val="tx1"/>
              </a:solidFill>
            </a:endParaRPr>
          </a:p>
        </p:txBody>
      </p:sp>
    </p:spTree>
    <p:extLst>
      <p:ext uri="{BB962C8B-B14F-4D97-AF65-F5344CB8AC3E}">
        <p14:creationId xmlns:p14="http://schemas.microsoft.com/office/powerpoint/2010/main" val="3073967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ounded Rectangle 69"/>
          <p:cNvSpPr/>
          <p:nvPr/>
        </p:nvSpPr>
        <p:spPr>
          <a:xfrm>
            <a:off x="4759870"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endParaRPr>
          </a:p>
        </p:txBody>
      </p:sp>
      <p:sp>
        <p:nvSpPr>
          <p:cNvPr id="71" name="Rounded Rectangle 70"/>
          <p:cNvSpPr/>
          <p:nvPr/>
        </p:nvSpPr>
        <p:spPr>
          <a:xfrm>
            <a:off x="371737"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endParaRPr>
          </a:p>
        </p:txBody>
      </p:sp>
      <p:sp>
        <p:nvSpPr>
          <p:cNvPr id="72" name="Rectangle 71"/>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endParaRPr>
          </a:p>
        </p:txBody>
      </p:sp>
      <p:cxnSp>
        <p:nvCxnSpPr>
          <p:cNvPr id="73" name="Straight Arrow Connector 72"/>
          <p:cNvCxnSpPr>
            <a:stCxn id="85" idx="2"/>
          </p:cNvCxnSpPr>
          <p:nvPr/>
        </p:nvCxnSpPr>
        <p:spPr>
          <a:xfrm>
            <a:off x="821792" y="2920539"/>
            <a:ext cx="7783954" cy="0"/>
          </a:xfrm>
          <a:prstGeom prst="straightConnector1">
            <a:avLst/>
          </a:prstGeom>
          <a:noFill/>
          <a:ln w="38100" cap="flat" cmpd="sng" algn="ctr">
            <a:solidFill>
              <a:srgbClr val="FFFFFF">
                <a:lumMod val="85000"/>
              </a:srgbClr>
            </a:solidFill>
            <a:prstDash val="sysDot"/>
            <a:tailEnd type="triangle" w="lg" len="med"/>
          </a:ln>
          <a:effectLst/>
        </p:spPr>
      </p:cxnSp>
      <p:grpSp>
        <p:nvGrpSpPr>
          <p:cNvPr id="74" name="Group 73"/>
          <p:cNvGrpSpPr/>
          <p:nvPr/>
        </p:nvGrpSpPr>
        <p:grpSpPr>
          <a:xfrm>
            <a:off x="6985746" y="2025295"/>
            <a:ext cx="1636677" cy="2763778"/>
            <a:chOff x="6637354" y="1574599"/>
            <a:chExt cx="1636677" cy="2763778"/>
          </a:xfrm>
        </p:grpSpPr>
        <p:sp>
          <p:nvSpPr>
            <p:cNvPr id="75" name="Oval 74"/>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endParaRPr>
            </a:p>
          </p:txBody>
        </p:sp>
        <p:sp>
          <p:nvSpPr>
            <p:cNvPr id="76" name="TextBox 75"/>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a:ln>
                    <a:noFill/>
                  </a:ln>
                  <a:solidFill>
                    <a:srgbClr val="497EA9"/>
                  </a:solidFill>
                  <a:effectLst/>
                  <a:uLnTx/>
                  <a:uFillTx/>
                </a:rPr>
                <a:t>Consulting</a:t>
              </a:r>
            </a:p>
          </p:txBody>
        </p:sp>
        <p:sp>
          <p:nvSpPr>
            <p:cNvPr id="77" name="TextBox 76"/>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Our team does not have the time or the knowledge to take this project on. We need assistance through the entirety of this project.”</a:t>
              </a:r>
            </a:p>
          </p:txBody>
        </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79" name="Group 78"/>
          <p:cNvGrpSpPr/>
          <p:nvPr/>
        </p:nvGrpSpPr>
        <p:grpSpPr>
          <a:xfrm>
            <a:off x="2345378" y="1877373"/>
            <a:ext cx="2129440" cy="2937609"/>
            <a:chOff x="2807522" y="2074912"/>
            <a:chExt cx="2129440" cy="2937609"/>
          </a:xfrm>
        </p:grpSpPr>
        <p:sp>
          <p:nvSpPr>
            <p:cNvPr id="80" name="Oval 79"/>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endParaRPr>
            </a:p>
          </p:txBody>
        </p:sp>
        <p:sp>
          <p:nvSpPr>
            <p:cNvPr id="81" name="TextBox 80"/>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365D7E"/>
                  </a:solidFill>
                  <a:effectLst/>
                  <a:uLnTx/>
                  <a:uFillTx/>
                </a:rPr>
                <a:t>Guided Implementation</a:t>
              </a:r>
            </a:p>
          </p:txBody>
        </p:sp>
        <p:sp>
          <p:nvSpPr>
            <p:cNvPr id="82" name="TextBox 81"/>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83" name="Picture 8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84" name="Group 83"/>
          <p:cNvGrpSpPr/>
          <p:nvPr/>
        </p:nvGrpSpPr>
        <p:grpSpPr>
          <a:xfrm>
            <a:off x="377551" y="2025295"/>
            <a:ext cx="1628660" cy="2794213"/>
            <a:chOff x="1266026" y="2731218"/>
            <a:chExt cx="1628660" cy="2794213"/>
          </a:xfrm>
        </p:grpSpPr>
        <p:sp>
          <p:nvSpPr>
            <p:cNvPr id="85" name="Oval 84"/>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endParaRPr>
            </a:p>
          </p:txBody>
        </p:sp>
        <p:sp>
          <p:nvSpPr>
            <p:cNvPr id="86" name="TextBox 85"/>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a:ln>
                    <a:noFill/>
                  </a:ln>
                  <a:solidFill>
                    <a:srgbClr val="29475F"/>
                  </a:solidFill>
                  <a:effectLst/>
                  <a:uLnTx/>
                  <a:uFillTx/>
                </a:rPr>
                <a:t>DIY Toolkit</a:t>
              </a:r>
            </a:p>
          </p:txBody>
        </p:sp>
        <p:sp>
          <p:nvSpPr>
            <p:cNvPr id="87" name="TextBox 86"/>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88" name="Picture 8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89" name="Group 88"/>
          <p:cNvGrpSpPr/>
          <p:nvPr/>
        </p:nvGrpSpPr>
        <p:grpSpPr>
          <a:xfrm>
            <a:off x="5011414" y="2025295"/>
            <a:ext cx="1635165" cy="2795710"/>
            <a:chOff x="4834633" y="1938352"/>
            <a:chExt cx="1635165" cy="2795710"/>
          </a:xfrm>
        </p:grpSpPr>
        <p:sp>
          <p:nvSpPr>
            <p:cNvPr id="90" name="Oval 89"/>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endParaRPr>
            </a:p>
          </p:txBody>
        </p:sp>
        <p:sp>
          <p:nvSpPr>
            <p:cNvPr id="91" name="TextBox 90"/>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a:ln>
                    <a:noFill/>
                  </a:ln>
                  <a:solidFill>
                    <a:srgbClr val="3F6D93"/>
                  </a:solidFill>
                  <a:effectLst/>
                  <a:uLnTx/>
                  <a:uFillTx/>
                </a:rPr>
                <a:t>Workshop</a:t>
              </a:r>
            </a:p>
          </p:txBody>
        </p:sp>
        <p:sp>
          <p:nvSpPr>
            <p:cNvPr id="92" name="TextBox 91"/>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93" name="Picture 9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94" name="Rectangle 93"/>
          <p:cNvSpPr/>
          <p:nvPr/>
        </p:nvSpPr>
        <p:spPr>
          <a:xfrm>
            <a:off x="906270"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a:ln>
                  <a:noFill/>
                </a:ln>
                <a:solidFill>
                  <a:srgbClr val="29475F"/>
                </a:solidFill>
                <a:effectLst/>
                <a:uLnTx/>
                <a:uFillTx/>
              </a:rPr>
              <a:t>Diagnostics and consistent frameworks used throughout all four options</a:t>
            </a:r>
          </a:p>
        </p:txBody>
      </p:sp>
      <p:sp>
        <p:nvSpPr>
          <p:cNvPr id="2" name="Title 1"/>
          <p:cNvSpPr>
            <a:spLocks noGrp="1"/>
          </p:cNvSpPr>
          <p:nvPr>
            <p:ph type="title"/>
          </p:nvPr>
        </p:nvSpPr>
        <p:spPr>
          <a:xfrm>
            <a:off x="257175" y="255588"/>
            <a:ext cx="8201026" cy="877887"/>
          </a:xfrm>
        </p:spPr>
        <p:txBody>
          <a:bodyPr/>
          <a:lstStyle/>
          <a:p>
            <a:pPr lvl="0"/>
            <a:r>
              <a:rPr lang="en-CA" dirty="0"/>
              <a:t>Info-Tech offers various levels of support to best suit your needs</a:t>
            </a:r>
          </a:p>
        </p:txBody>
      </p:sp>
    </p:spTree>
    <p:extLst>
      <p:ext uri="{BB962C8B-B14F-4D97-AF65-F5344CB8AC3E}">
        <p14:creationId xmlns:p14="http://schemas.microsoft.com/office/powerpoint/2010/main" val="39603445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Info-Tech </a:t>
            </a:r>
            <a:r>
              <a:rPr lang="en-CA" dirty="0" smtClean="0"/>
              <a:t>advisory </a:t>
            </a:r>
            <a:r>
              <a:rPr lang="en-CA" dirty="0"/>
              <a:t>s</a:t>
            </a:r>
            <a:r>
              <a:rPr lang="en-CA" dirty="0" smtClean="0"/>
              <a:t>ervices </a:t>
            </a:r>
            <a:r>
              <a:rPr lang="en-CA" dirty="0"/>
              <a:t>deliver </a:t>
            </a:r>
            <a:r>
              <a:rPr lang="en-CA" b="1" dirty="0"/>
              <a:t>m</a:t>
            </a:r>
            <a:r>
              <a:rPr lang="en-CA" b="1" dirty="0" smtClean="0"/>
              <a:t>easurable </a:t>
            </a:r>
            <a:r>
              <a:rPr lang="en-CA" b="1" dirty="0"/>
              <a:t>v</a:t>
            </a:r>
            <a:r>
              <a:rPr lang="en-CA" b="1" dirty="0" smtClean="0"/>
              <a:t>alue</a:t>
            </a:r>
            <a:endParaRPr lang="en-CA" dirty="0"/>
          </a:p>
        </p:txBody>
      </p:sp>
      <p:sp>
        <p:nvSpPr>
          <p:cNvPr id="4" name="Rectangle 3"/>
          <p:cNvSpPr/>
          <p:nvPr/>
        </p:nvSpPr>
        <p:spPr>
          <a:xfrm>
            <a:off x="257172" y="1344610"/>
            <a:ext cx="8620125" cy="769441"/>
          </a:xfrm>
          <a:prstGeom prst="rect">
            <a:avLst/>
          </a:prstGeom>
        </p:spPr>
        <p:txBody>
          <a:bodyPr wrap="square">
            <a:spAutoFit/>
          </a:bodyPr>
          <a:lstStyle/>
          <a:p>
            <a:pPr algn="ctr"/>
            <a:r>
              <a:rPr lang="en-CA" sz="2000" dirty="0"/>
              <a:t>Info-Tech members save an average of </a:t>
            </a:r>
            <a:r>
              <a:rPr lang="en-CA" sz="2400" b="1" dirty="0">
                <a:solidFill>
                  <a:schemeClr val="accent1">
                    <a:lumMod val="60000"/>
                    <a:lumOff val="40000"/>
                  </a:schemeClr>
                </a:solidFill>
              </a:rPr>
              <a:t>$22,983 </a:t>
            </a:r>
            <a:r>
              <a:rPr lang="en-CA" sz="2000" dirty="0"/>
              <a:t>and </a:t>
            </a:r>
            <a:r>
              <a:rPr lang="en-CA" sz="2400" b="1" dirty="0">
                <a:solidFill>
                  <a:schemeClr val="accent1">
                    <a:lumMod val="60000"/>
                    <a:lumOff val="40000"/>
                  </a:schemeClr>
                </a:solidFill>
              </a:rPr>
              <a:t>22 days </a:t>
            </a:r>
            <a:r>
              <a:rPr lang="en-CA" sz="2000" dirty="0"/>
              <a:t>by working with an Info-Tech analyst on DRP.*</a:t>
            </a:r>
          </a:p>
        </p:txBody>
      </p:sp>
      <p:sp>
        <p:nvSpPr>
          <p:cNvPr id="5" name="Rectangle 4"/>
          <p:cNvSpPr/>
          <p:nvPr/>
        </p:nvSpPr>
        <p:spPr>
          <a:xfrm>
            <a:off x="397285" y="6232526"/>
            <a:ext cx="8339897" cy="253916"/>
          </a:xfrm>
          <a:prstGeom prst="rect">
            <a:avLst/>
          </a:prstGeom>
        </p:spPr>
        <p:txBody>
          <a:bodyPr wrap="square">
            <a:spAutoFit/>
          </a:bodyPr>
          <a:lstStyle/>
          <a:p>
            <a:r>
              <a:rPr lang="en-CA" sz="1050" dirty="0"/>
              <a:t>* Based on client response data from </a:t>
            </a:r>
            <a:r>
              <a:rPr lang="en-CA" sz="1050" dirty="0" smtClean="0"/>
              <a:t>Info-Tech Research Group’s </a:t>
            </a:r>
            <a:r>
              <a:rPr lang="en-CA" sz="1050" i="1" dirty="0"/>
              <a:t>Measured Value Survey, </a:t>
            </a:r>
            <a:r>
              <a:rPr lang="en-CA" sz="1050" dirty="0"/>
              <a:t>following analyst advisory on this blueprint. </a:t>
            </a:r>
          </a:p>
        </p:txBody>
      </p:sp>
      <p:grpSp>
        <p:nvGrpSpPr>
          <p:cNvPr id="15" name="Group 14">
            <a:extLst>
              <a:ext uri="{FF2B5EF4-FFF2-40B4-BE49-F238E27FC236}">
                <a16:creationId xmlns="" xmlns:a16="http://schemas.microsoft.com/office/drawing/2014/main" id="{F3703BA0-0C96-4DC2-B1AE-1405A6284673}"/>
              </a:ext>
            </a:extLst>
          </p:cNvPr>
          <p:cNvGrpSpPr/>
          <p:nvPr/>
        </p:nvGrpSpPr>
        <p:grpSpPr>
          <a:xfrm>
            <a:off x="257172" y="2530036"/>
            <a:ext cx="8620125" cy="3053318"/>
            <a:chOff x="257172" y="2361595"/>
            <a:chExt cx="8620125" cy="3053318"/>
          </a:xfrm>
        </p:grpSpPr>
        <p:sp>
          <p:nvSpPr>
            <p:cNvPr id="7" name="Rectangle 6"/>
            <p:cNvSpPr/>
            <p:nvPr/>
          </p:nvSpPr>
          <p:spPr>
            <a:xfrm>
              <a:off x="257172" y="2361595"/>
              <a:ext cx="8620125" cy="400110"/>
            </a:xfrm>
            <a:prstGeom prst="rect">
              <a:avLst/>
            </a:prstGeom>
          </p:spPr>
          <p:txBody>
            <a:bodyPr wrap="square">
              <a:spAutoFit/>
            </a:bodyPr>
            <a:lstStyle/>
            <a:p>
              <a:r>
                <a:rPr lang="en-CA" sz="2000" b="1" dirty="0"/>
                <a:t>Why do members report value from analyst engagement? </a:t>
              </a:r>
            </a:p>
          </p:txBody>
        </p:sp>
        <p:grpSp>
          <p:nvGrpSpPr>
            <p:cNvPr id="3" name="Group 2">
              <a:extLst>
                <a:ext uri="{FF2B5EF4-FFF2-40B4-BE49-F238E27FC236}">
                  <a16:creationId xmlns="" xmlns:a16="http://schemas.microsoft.com/office/drawing/2014/main" id="{906309EB-F02B-4455-A07A-3A283F5C9936}"/>
                </a:ext>
              </a:extLst>
            </p:cNvPr>
            <p:cNvGrpSpPr/>
            <p:nvPr/>
          </p:nvGrpSpPr>
          <p:grpSpPr>
            <a:xfrm>
              <a:off x="654955" y="3035613"/>
              <a:ext cx="7438287" cy="646331"/>
              <a:chOff x="245116" y="3375150"/>
              <a:chExt cx="7438287" cy="646331"/>
            </a:xfrm>
          </p:grpSpPr>
          <p:sp>
            <p:nvSpPr>
              <p:cNvPr id="6" name="TextBox 5"/>
              <p:cNvSpPr txBox="1"/>
              <p:nvPr/>
            </p:nvSpPr>
            <p:spPr>
              <a:xfrm>
                <a:off x="785434" y="3375150"/>
                <a:ext cx="6897969" cy="646331"/>
              </a:xfrm>
              <a:prstGeom prst="rect">
                <a:avLst/>
              </a:prstGeom>
            </p:spPr>
            <p:txBody>
              <a:bodyPr wrap="square" rtlCol="0">
                <a:spAutoFit/>
              </a:bodyPr>
              <a:lstStyle/>
              <a:p>
                <a:r>
                  <a:rPr lang="en-CA" b="1" dirty="0"/>
                  <a:t>Expert advice</a:t>
                </a:r>
                <a:r>
                  <a:rPr lang="en-CA" dirty="0"/>
                  <a:t> on your specific situation to overcome obstacles and speed bumps.</a:t>
                </a:r>
              </a:p>
            </p:txBody>
          </p:sp>
          <p:sp>
            <p:nvSpPr>
              <p:cNvPr id="8" name="Oval 7"/>
              <p:cNvSpPr/>
              <p:nvPr/>
            </p:nvSpPr>
            <p:spPr>
              <a:xfrm>
                <a:off x="245116" y="3479486"/>
                <a:ext cx="439200" cy="437661"/>
              </a:xfrm>
              <a:prstGeom prst="ellipse">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b="1" dirty="0"/>
                  <a:t>1</a:t>
                </a:r>
              </a:p>
            </p:txBody>
          </p:sp>
        </p:grpSp>
        <p:grpSp>
          <p:nvGrpSpPr>
            <p:cNvPr id="13" name="Group 12">
              <a:extLst>
                <a:ext uri="{FF2B5EF4-FFF2-40B4-BE49-F238E27FC236}">
                  <a16:creationId xmlns="" xmlns:a16="http://schemas.microsoft.com/office/drawing/2014/main" id="{1E9C8B36-F185-4BD7-8559-96A7AD7D67A0}"/>
                </a:ext>
              </a:extLst>
            </p:cNvPr>
            <p:cNvGrpSpPr/>
            <p:nvPr/>
          </p:nvGrpSpPr>
          <p:grpSpPr>
            <a:xfrm>
              <a:off x="650203" y="4029776"/>
              <a:ext cx="6091672" cy="437661"/>
              <a:chOff x="-72423" y="4369313"/>
              <a:chExt cx="6091672" cy="437661"/>
            </a:xfrm>
          </p:grpSpPr>
          <p:sp>
            <p:nvSpPr>
              <p:cNvPr id="9" name="Oval 8"/>
              <p:cNvSpPr/>
              <p:nvPr/>
            </p:nvSpPr>
            <p:spPr>
              <a:xfrm>
                <a:off x="-72423" y="4369313"/>
                <a:ext cx="439200" cy="437661"/>
              </a:xfrm>
              <a:prstGeom prst="ellipse">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b="1" dirty="0"/>
                  <a:t>2</a:t>
                </a:r>
              </a:p>
            </p:txBody>
          </p:sp>
          <p:sp>
            <p:nvSpPr>
              <p:cNvPr id="11" name="Rectangle 10"/>
              <p:cNvSpPr/>
              <p:nvPr/>
            </p:nvSpPr>
            <p:spPr>
              <a:xfrm>
                <a:off x="468817" y="4403477"/>
                <a:ext cx="5550432" cy="369332"/>
              </a:xfrm>
              <a:prstGeom prst="rect">
                <a:avLst/>
              </a:prstGeom>
            </p:spPr>
            <p:txBody>
              <a:bodyPr wrap="square">
                <a:spAutoFit/>
              </a:bodyPr>
              <a:lstStyle/>
              <a:p>
                <a:r>
                  <a:rPr lang="en-CA" b="1" dirty="0"/>
                  <a:t>Structured project and guidance </a:t>
                </a:r>
                <a:r>
                  <a:rPr lang="en-CA" dirty="0"/>
                  <a:t>to stay on track.</a:t>
                </a:r>
              </a:p>
            </p:txBody>
          </p:sp>
        </p:grpSp>
        <p:grpSp>
          <p:nvGrpSpPr>
            <p:cNvPr id="14" name="Group 13">
              <a:extLst>
                <a:ext uri="{FF2B5EF4-FFF2-40B4-BE49-F238E27FC236}">
                  <a16:creationId xmlns="" xmlns:a16="http://schemas.microsoft.com/office/drawing/2014/main" id="{921D8748-6920-445F-ABB6-EB65E7D7824C}"/>
                </a:ext>
              </a:extLst>
            </p:cNvPr>
            <p:cNvGrpSpPr/>
            <p:nvPr/>
          </p:nvGrpSpPr>
          <p:grpSpPr>
            <a:xfrm>
              <a:off x="650203" y="4768582"/>
              <a:ext cx="7086283" cy="646331"/>
              <a:chOff x="-146089" y="5108119"/>
              <a:chExt cx="7086283" cy="646331"/>
            </a:xfrm>
          </p:grpSpPr>
          <p:sp>
            <p:nvSpPr>
              <p:cNvPr id="10" name="Oval 9"/>
              <p:cNvSpPr/>
              <p:nvPr/>
            </p:nvSpPr>
            <p:spPr>
              <a:xfrm>
                <a:off x="-146089" y="5212455"/>
                <a:ext cx="439200" cy="437661"/>
              </a:xfrm>
              <a:prstGeom prst="ellipse">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b="1" dirty="0"/>
                  <a:t>3</a:t>
                </a:r>
              </a:p>
            </p:txBody>
          </p:sp>
          <p:sp>
            <p:nvSpPr>
              <p:cNvPr id="12" name="Rectangle 11"/>
              <p:cNvSpPr/>
              <p:nvPr/>
            </p:nvSpPr>
            <p:spPr>
              <a:xfrm>
                <a:off x="395151" y="5108119"/>
                <a:ext cx="6545043" cy="646331"/>
              </a:xfrm>
              <a:prstGeom prst="rect">
                <a:avLst/>
              </a:prstGeom>
            </p:spPr>
            <p:txBody>
              <a:bodyPr wrap="square">
                <a:spAutoFit/>
              </a:bodyPr>
              <a:lstStyle/>
              <a:p>
                <a:r>
                  <a:rPr lang="en-CA" b="1" dirty="0"/>
                  <a:t>Project deliverables review </a:t>
                </a:r>
                <a:r>
                  <a:rPr lang="en-CA" dirty="0"/>
                  <a:t>to ensure the process is applied properly.</a:t>
                </a:r>
              </a:p>
            </p:txBody>
          </p:sp>
        </p:grpSp>
      </p:grpSp>
    </p:spTree>
    <p:extLst>
      <p:ext uri="{BB962C8B-B14F-4D97-AF65-F5344CB8AC3E}">
        <p14:creationId xmlns:p14="http://schemas.microsoft.com/office/powerpoint/2010/main" val="39332169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Guided </a:t>
            </a:r>
            <a:r>
              <a:rPr lang="en-CA" dirty="0" smtClean="0"/>
              <a:t>implementation </a:t>
            </a:r>
            <a:r>
              <a:rPr lang="en-CA" dirty="0"/>
              <a:t>o</a:t>
            </a:r>
            <a:r>
              <a:rPr lang="en-CA" dirty="0" smtClean="0"/>
              <a:t>verview</a:t>
            </a:r>
            <a:endParaRPr lang="en-CA" dirty="0"/>
          </a:p>
        </p:txBody>
      </p:sp>
      <p:pic>
        <p:nvPicPr>
          <p:cNvPr id="3" name="Picture 2"/>
          <p:cNvPicPr>
            <a:picLocks noChangeAspect="1"/>
          </p:cNvPicPr>
          <p:nvPr/>
        </p:nvPicPr>
        <p:blipFill rotWithShape="1">
          <a:blip r:embed="rId2"/>
          <a:srcRect l="1197"/>
          <a:stretch/>
        </p:blipFill>
        <p:spPr>
          <a:xfrm>
            <a:off x="0" y="1712164"/>
            <a:ext cx="8651508" cy="4016155"/>
          </a:xfrm>
          <a:prstGeom prst="rect">
            <a:avLst/>
          </a:prstGeom>
        </p:spPr>
      </p:pic>
      <p:sp>
        <p:nvSpPr>
          <p:cNvPr id="4" name="Rectangle 3"/>
          <p:cNvSpPr/>
          <p:nvPr/>
        </p:nvSpPr>
        <p:spPr>
          <a:xfrm>
            <a:off x="303845" y="1445417"/>
            <a:ext cx="5110653" cy="400110"/>
          </a:xfrm>
          <a:prstGeom prst="rect">
            <a:avLst/>
          </a:prstGeom>
        </p:spPr>
        <p:txBody>
          <a:bodyPr wrap="square">
            <a:spAutoFit/>
          </a:bodyPr>
          <a:lstStyle/>
          <a:p>
            <a:r>
              <a:rPr lang="en-CA" sz="2000" b="1" dirty="0">
                <a:solidFill>
                  <a:srgbClr val="365D7E"/>
                </a:solidFill>
              </a:rPr>
              <a:t>Your </a:t>
            </a:r>
            <a:r>
              <a:rPr lang="en-CA" sz="2000" b="1" dirty="0" smtClean="0">
                <a:solidFill>
                  <a:srgbClr val="365D7E"/>
                </a:solidFill>
              </a:rPr>
              <a:t>trusted </a:t>
            </a:r>
            <a:r>
              <a:rPr lang="en-CA" sz="2000" b="1" dirty="0">
                <a:solidFill>
                  <a:srgbClr val="365D7E"/>
                </a:solidFill>
              </a:rPr>
              <a:t>a</a:t>
            </a:r>
            <a:r>
              <a:rPr lang="en-CA" sz="2000" b="1" dirty="0" smtClean="0">
                <a:solidFill>
                  <a:srgbClr val="365D7E"/>
                </a:solidFill>
              </a:rPr>
              <a:t>dvisor </a:t>
            </a:r>
            <a:r>
              <a:rPr lang="en-CA" sz="2000" b="1" dirty="0">
                <a:solidFill>
                  <a:srgbClr val="365D7E"/>
                </a:solidFill>
              </a:rPr>
              <a:t>is just a call away.</a:t>
            </a:r>
            <a:endParaRPr lang="en-CA" sz="2000" dirty="0">
              <a:solidFill>
                <a:srgbClr val="365D7E"/>
              </a:solidFill>
            </a:endParaRPr>
          </a:p>
        </p:txBody>
      </p:sp>
      <p:sp>
        <p:nvSpPr>
          <p:cNvPr id="5" name="Rectangle 4"/>
          <p:cNvSpPr/>
          <p:nvPr/>
        </p:nvSpPr>
        <p:spPr>
          <a:xfrm>
            <a:off x="194550" y="3180094"/>
            <a:ext cx="1677600" cy="2195424"/>
          </a:xfrm>
          <a:prstGeom prst="rect">
            <a:avLst/>
          </a:prstGeom>
          <a:solidFill>
            <a:schemeClr val="bg1">
              <a:alpha val="90000"/>
            </a:schemeClr>
          </a:solidFill>
          <a:ln>
            <a:noFill/>
          </a:ln>
          <a:effectLst>
            <a:glow rad="127000">
              <a:schemeClr val="bg1">
                <a:lumMod val="50000"/>
                <a:alpha val="37000"/>
              </a:schemeClr>
            </a:glow>
          </a:effectLst>
        </p:spPr>
        <p:txBody>
          <a:bodyPr wrap="square" lIns="108000" tIns="108000" rIns="108000" bIns="108000" anchor="ctr" anchorCtr="0">
            <a:noAutofit/>
          </a:bodyPr>
          <a:lstStyle/>
          <a:p>
            <a:pPr algn="ctr"/>
            <a:r>
              <a:rPr lang="en-US" sz="1400" b="1" dirty="0"/>
              <a:t>Define DRP s</a:t>
            </a:r>
            <a:r>
              <a:rPr lang="en-US" sz="1400" b="1" dirty="0" smtClean="0"/>
              <a:t>cope</a:t>
            </a:r>
            <a:endParaRPr lang="en-CA" sz="1400" b="1" dirty="0"/>
          </a:p>
          <a:p>
            <a:pPr algn="ctr">
              <a:spcAft>
                <a:spcPts val="600"/>
              </a:spcAft>
            </a:pPr>
            <a:r>
              <a:rPr lang="en-CA" sz="1200" b="1" dirty="0"/>
              <a:t>(Call 1)</a:t>
            </a:r>
          </a:p>
          <a:p>
            <a:pPr algn="ctr">
              <a:spcAft>
                <a:spcPts val="600"/>
              </a:spcAft>
            </a:pPr>
            <a:r>
              <a:rPr lang="en-CA" sz="1200" dirty="0"/>
              <a:t>Scope requirements, objectives, and your specific challenges. Identify applications/ systems to focus on first. </a:t>
            </a:r>
          </a:p>
        </p:txBody>
      </p:sp>
      <p:sp>
        <p:nvSpPr>
          <p:cNvPr id="6" name="Rectangle 5"/>
          <p:cNvSpPr/>
          <p:nvPr/>
        </p:nvSpPr>
        <p:spPr>
          <a:xfrm>
            <a:off x="1965724" y="2956138"/>
            <a:ext cx="1677600" cy="2195424"/>
          </a:xfrm>
          <a:prstGeom prst="rect">
            <a:avLst/>
          </a:prstGeom>
          <a:solidFill>
            <a:schemeClr val="bg1">
              <a:alpha val="90000"/>
            </a:schemeClr>
          </a:solidFill>
          <a:ln>
            <a:noFill/>
          </a:ln>
          <a:effectLst>
            <a:glow rad="127000">
              <a:schemeClr val="bg1">
                <a:lumMod val="50000"/>
                <a:alpha val="37000"/>
              </a:schemeClr>
            </a:glow>
          </a:effectLst>
        </p:spPr>
        <p:txBody>
          <a:bodyPr wrap="square" lIns="108000" tIns="108000" rIns="108000" bIns="108000" anchor="ctr" anchorCtr="0">
            <a:noAutofit/>
          </a:bodyPr>
          <a:lstStyle/>
          <a:p>
            <a:pPr algn="ctr"/>
            <a:r>
              <a:rPr lang="en-US" sz="1400" b="1" dirty="0"/>
              <a:t>Define c</a:t>
            </a:r>
            <a:r>
              <a:rPr lang="en-US" sz="1400" b="1" dirty="0" smtClean="0"/>
              <a:t>urrent </a:t>
            </a:r>
            <a:r>
              <a:rPr lang="en-US" sz="1400" b="1" dirty="0"/>
              <a:t>status and system dependencies</a:t>
            </a:r>
            <a:endParaRPr lang="en-CA" sz="1400" b="1" dirty="0"/>
          </a:p>
          <a:p>
            <a:pPr algn="ctr">
              <a:spcAft>
                <a:spcPts val="600"/>
              </a:spcAft>
            </a:pPr>
            <a:r>
              <a:rPr lang="en-CA" sz="1200" b="1" dirty="0"/>
              <a:t>(Calls 2-3)</a:t>
            </a:r>
          </a:p>
          <a:p>
            <a:pPr algn="ctr">
              <a:spcAft>
                <a:spcPts val="600"/>
              </a:spcAft>
            </a:pPr>
            <a:r>
              <a:rPr lang="en-CA" sz="1200" dirty="0"/>
              <a:t>Assess current DRP maturity. Identify system dependencies.</a:t>
            </a:r>
          </a:p>
        </p:txBody>
      </p:sp>
      <p:sp>
        <p:nvSpPr>
          <p:cNvPr id="7" name="Rectangle 6"/>
          <p:cNvSpPr/>
          <p:nvPr/>
        </p:nvSpPr>
        <p:spPr>
          <a:xfrm>
            <a:off x="3736898" y="2732183"/>
            <a:ext cx="1677600" cy="2195424"/>
          </a:xfrm>
          <a:prstGeom prst="rect">
            <a:avLst/>
          </a:prstGeom>
          <a:solidFill>
            <a:schemeClr val="bg1">
              <a:alpha val="90000"/>
            </a:schemeClr>
          </a:solidFill>
          <a:ln>
            <a:noFill/>
          </a:ln>
          <a:effectLst>
            <a:glow rad="127000">
              <a:schemeClr val="bg1">
                <a:lumMod val="50000"/>
                <a:alpha val="37000"/>
              </a:schemeClr>
            </a:glow>
          </a:effectLst>
        </p:spPr>
        <p:txBody>
          <a:bodyPr wrap="square" lIns="108000" tIns="108000" rIns="108000" bIns="108000" anchor="ctr" anchorCtr="0">
            <a:noAutofit/>
          </a:bodyPr>
          <a:lstStyle/>
          <a:p>
            <a:pPr algn="ctr"/>
            <a:r>
              <a:rPr lang="en-CA" sz="1400" b="1" dirty="0"/>
              <a:t>Conduct a BIA</a:t>
            </a:r>
          </a:p>
          <a:p>
            <a:pPr algn="ctr">
              <a:spcAft>
                <a:spcPts val="600"/>
              </a:spcAft>
            </a:pPr>
            <a:r>
              <a:rPr lang="en-CA" sz="1200" b="1" dirty="0"/>
              <a:t>(Calls 4-6)</a:t>
            </a:r>
          </a:p>
          <a:p>
            <a:pPr algn="ctr">
              <a:spcAft>
                <a:spcPts val="600"/>
              </a:spcAft>
            </a:pPr>
            <a:r>
              <a:rPr lang="en-CA" sz="1200" dirty="0"/>
              <a:t>Create an impact scoring scale and conduct a BIA. Identify RTO and RPO for each system.</a:t>
            </a:r>
          </a:p>
        </p:txBody>
      </p:sp>
      <p:sp>
        <p:nvSpPr>
          <p:cNvPr id="8" name="Rectangle 7"/>
          <p:cNvSpPr/>
          <p:nvPr/>
        </p:nvSpPr>
        <p:spPr>
          <a:xfrm>
            <a:off x="5508072" y="2403252"/>
            <a:ext cx="1677600" cy="2300400"/>
          </a:xfrm>
          <a:prstGeom prst="rect">
            <a:avLst/>
          </a:prstGeom>
          <a:solidFill>
            <a:schemeClr val="bg1">
              <a:alpha val="90000"/>
            </a:schemeClr>
          </a:solidFill>
          <a:ln>
            <a:noFill/>
          </a:ln>
          <a:effectLst>
            <a:glow rad="127000">
              <a:schemeClr val="bg1">
                <a:lumMod val="50000"/>
                <a:alpha val="37000"/>
              </a:schemeClr>
            </a:glow>
          </a:effectLst>
        </p:spPr>
        <p:txBody>
          <a:bodyPr wrap="square" lIns="108000" tIns="108000" rIns="108000" bIns="108000" anchor="ctr" anchorCtr="0">
            <a:noAutofit/>
          </a:bodyPr>
          <a:lstStyle/>
          <a:p>
            <a:pPr algn="ctr"/>
            <a:r>
              <a:rPr lang="en-CA" sz="1400" b="1" dirty="0"/>
              <a:t>Recovery </a:t>
            </a:r>
            <a:r>
              <a:rPr lang="en-CA" sz="1400" b="1" dirty="0" smtClean="0"/>
              <a:t>workflow</a:t>
            </a:r>
            <a:endParaRPr lang="en-CA" sz="1400" b="1" dirty="0"/>
          </a:p>
          <a:p>
            <a:pPr algn="ctr">
              <a:spcAft>
                <a:spcPts val="600"/>
              </a:spcAft>
            </a:pPr>
            <a:r>
              <a:rPr lang="en-CA" sz="1200" b="1" dirty="0"/>
              <a:t>(Calls 7-8)</a:t>
            </a:r>
          </a:p>
          <a:p>
            <a:pPr algn="ctr">
              <a:spcAft>
                <a:spcPts val="600"/>
              </a:spcAft>
            </a:pPr>
            <a:r>
              <a:rPr lang="en-CA" sz="1200" dirty="0"/>
              <a:t>Create a recovery workflow based on tabletop planning. Identify gaps in recovery capabilities. </a:t>
            </a:r>
          </a:p>
        </p:txBody>
      </p:sp>
      <p:sp>
        <p:nvSpPr>
          <p:cNvPr id="9" name="Rectangle 8"/>
          <p:cNvSpPr/>
          <p:nvPr/>
        </p:nvSpPr>
        <p:spPr>
          <a:xfrm>
            <a:off x="7279245" y="2179297"/>
            <a:ext cx="1677600" cy="2195424"/>
          </a:xfrm>
          <a:prstGeom prst="rect">
            <a:avLst/>
          </a:prstGeom>
          <a:solidFill>
            <a:schemeClr val="bg1">
              <a:alpha val="90000"/>
            </a:schemeClr>
          </a:solidFill>
          <a:ln>
            <a:noFill/>
          </a:ln>
          <a:effectLst>
            <a:glow rad="127000">
              <a:schemeClr val="bg1">
                <a:lumMod val="50000"/>
                <a:alpha val="37000"/>
              </a:schemeClr>
            </a:glow>
          </a:effectLst>
        </p:spPr>
        <p:txBody>
          <a:bodyPr wrap="square" lIns="108000" tIns="108000" rIns="108000" bIns="108000" anchor="ctr" anchorCtr="0">
            <a:noAutofit/>
          </a:bodyPr>
          <a:lstStyle/>
          <a:p>
            <a:pPr algn="ctr"/>
            <a:r>
              <a:rPr lang="en-CA" sz="1400" b="1" dirty="0"/>
              <a:t>Projects </a:t>
            </a:r>
            <a:r>
              <a:rPr lang="en-CA" sz="1400" b="1" dirty="0" smtClean="0"/>
              <a:t>and </a:t>
            </a:r>
            <a:r>
              <a:rPr lang="en-CA" sz="1400" b="1" dirty="0"/>
              <a:t>a</a:t>
            </a:r>
            <a:r>
              <a:rPr lang="en-CA" sz="1400" b="1" dirty="0" smtClean="0"/>
              <a:t>ction </a:t>
            </a:r>
            <a:r>
              <a:rPr lang="en-CA" sz="1400" b="1" dirty="0"/>
              <a:t>i</a:t>
            </a:r>
            <a:r>
              <a:rPr lang="en-CA" sz="1400" b="1" dirty="0" smtClean="0"/>
              <a:t>tems</a:t>
            </a:r>
            <a:endParaRPr lang="en-CA" sz="1400" b="1" dirty="0"/>
          </a:p>
          <a:p>
            <a:pPr algn="ctr">
              <a:spcAft>
                <a:spcPts val="600"/>
              </a:spcAft>
            </a:pPr>
            <a:r>
              <a:rPr lang="en-CA" sz="1200" b="1" dirty="0"/>
              <a:t>(</a:t>
            </a:r>
            <a:r>
              <a:rPr lang="en-CA" sz="1200" b="1" dirty="0" smtClean="0"/>
              <a:t>Calls </a:t>
            </a:r>
            <a:r>
              <a:rPr lang="en-CA" sz="1200" b="1" dirty="0"/>
              <a:t>9-10)</a:t>
            </a:r>
          </a:p>
          <a:p>
            <a:pPr algn="ctr">
              <a:spcAft>
                <a:spcPts val="600"/>
              </a:spcAft>
            </a:pPr>
            <a:r>
              <a:rPr lang="en-CA" sz="1200" dirty="0"/>
              <a:t>Identify and prioritize improvements. Summarize results and plan next steps.</a:t>
            </a:r>
          </a:p>
        </p:txBody>
      </p:sp>
      <p:sp>
        <p:nvSpPr>
          <p:cNvPr id="10" name="Rectangle 9"/>
          <p:cNvSpPr/>
          <p:nvPr/>
        </p:nvSpPr>
        <p:spPr>
          <a:xfrm>
            <a:off x="832811" y="5814263"/>
            <a:ext cx="7485773" cy="523220"/>
          </a:xfrm>
          <a:prstGeom prst="rect">
            <a:avLst/>
          </a:prstGeom>
        </p:spPr>
        <p:txBody>
          <a:bodyPr wrap="square">
            <a:spAutoFit/>
          </a:bodyPr>
          <a:lstStyle/>
          <a:p>
            <a:pPr algn="ctr"/>
            <a:r>
              <a:rPr lang="en-CA" sz="1400" b="1" dirty="0"/>
              <a:t>Your </a:t>
            </a:r>
            <a:r>
              <a:rPr lang="en-CA" sz="1400" b="1" dirty="0" smtClean="0"/>
              <a:t>guided implementations </a:t>
            </a:r>
            <a:r>
              <a:rPr lang="en-CA" sz="1400" b="1" dirty="0"/>
              <a:t>will pair you with an advisor from our analyst team for the duration of your </a:t>
            </a:r>
            <a:r>
              <a:rPr lang="en-CA" sz="1400" b="1" dirty="0" smtClean="0"/>
              <a:t>DRP </a:t>
            </a:r>
            <a:r>
              <a:rPr lang="en-CA" sz="1400" b="1" dirty="0"/>
              <a:t>project.  </a:t>
            </a:r>
          </a:p>
        </p:txBody>
      </p:sp>
      <p:grpSp>
        <p:nvGrpSpPr>
          <p:cNvPr id="11" name="Group 10"/>
          <p:cNvGrpSpPr/>
          <p:nvPr/>
        </p:nvGrpSpPr>
        <p:grpSpPr>
          <a:xfrm>
            <a:off x="8111882" y="1339538"/>
            <a:ext cx="711200" cy="711200"/>
            <a:chOff x="3024103" y="2561716"/>
            <a:chExt cx="711200" cy="711200"/>
          </a:xfrm>
        </p:grpSpPr>
        <p:sp>
          <p:nvSpPr>
            <p:cNvPr id="12" name="Oval 11"/>
            <p:cNvSpPr/>
            <p:nvPr/>
          </p:nvSpPr>
          <p:spPr>
            <a:xfrm>
              <a:off x="3024103" y="2561716"/>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20637" y="2737284"/>
              <a:ext cx="337358" cy="337358"/>
            </a:xfrm>
            <a:prstGeom prst="rect">
              <a:avLst/>
            </a:prstGeom>
            <a:noFill/>
          </p:spPr>
        </p:pic>
      </p:grpSp>
    </p:spTree>
    <p:extLst>
      <p:ext uri="{BB962C8B-B14F-4D97-AF65-F5344CB8AC3E}">
        <p14:creationId xmlns:p14="http://schemas.microsoft.com/office/powerpoint/2010/main" val="32329493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shop overview</a:t>
            </a:r>
          </a:p>
        </p:txBody>
      </p:sp>
      <p:sp>
        <p:nvSpPr>
          <p:cNvPr id="5" name="Text Placeholder 2"/>
          <p:cNvSpPr txBox="1">
            <a:spLocks/>
          </p:cNvSpPr>
          <p:nvPr/>
        </p:nvSpPr>
        <p:spPr bwMode="auto">
          <a:xfrm>
            <a:off x="575677" y="1184770"/>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US" sz="1400" dirty="0">
                <a:solidFill>
                  <a:srgbClr val="333333"/>
                </a:solidFill>
              </a:rPr>
              <a:t>Contact your account representative or e</a:t>
            </a:r>
            <a:r>
              <a:rPr lang="en-US" sz="1400" dirty="0">
                <a:solidFill>
                  <a:srgbClr val="333333"/>
                </a:solidFill>
                <a:cs typeface="Open Sans"/>
              </a:rPr>
              <a:t>mail </a:t>
            </a:r>
            <a:r>
              <a:rPr lang="en-US" sz="1400" dirty="0">
                <a:solidFill>
                  <a:srgbClr val="333333"/>
                </a:solidFill>
                <a:cs typeface="Open Sans"/>
                <a:hlinkClick r:id="rId3"/>
              </a:rPr>
              <a:t>Workshops@InfoTech.com</a:t>
            </a:r>
            <a:r>
              <a:rPr lang="en-US" sz="1400" dirty="0">
                <a:solidFill>
                  <a:srgbClr val="333333"/>
                </a:solidFill>
                <a:cs typeface="Open Sans"/>
              </a:rPr>
              <a:t> for more information.</a:t>
            </a:r>
            <a:endParaRPr lang="en-US" sz="1400" dirty="0">
              <a:solidFill>
                <a:srgbClr val="333333"/>
              </a:solidFill>
            </a:endParaRPr>
          </a:p>
        </p:txBody>
      </p:sp>
      <p:graphicFrame>
        <p:nvGraphicFramePr>
          <p:cNvPr id="6" name="Table 2"/>
          <p:cNvGraphicFramePr>
            <a:graphicFrameLocks noGrp="1"/>
          </p:cNvGraphicFramePr>
          <p:nvPr>
            <p:extLst>
              <p:ext uri="{D42A27DB-BD31-4B8C-83A1-F6EECF244321}">
                <p14:modId xmlns:p14="http://schemas.microsoft.com/office/powerpoint/2010/main" val="449414339"/>
              </p:ext>
            </p:extLst>
          </p:nvPr>
        </p:nvGraphicFramePr>
        <p:xfrm>
          <a:off x="323609" y="1582141"/>
          <a:ext cx="8451505" cy="4845953"/>
        </p:xfrm>
        <a:graphic>
          <a:graphicData uri="http://schemas.openxmlformats.org/drawingml/2006/table">
            <a:tbl>
              <a:tblPr firstRow="1" bandRow="1">
                <a:tableStyleId>{5C22544A-7EE6-4342-B048-85BDC9FD1C3A}</a:tableStyleId>
              </a:tblPr>
              <a:tblGrid>
                <a:gridCol w="378267">
                  <a:extLst>
                    <a:ext uri="{9D8B030D-6E8A-4147-A177-3AD203B41FA5}">
                      <a16:colId xmlns="" xmlns:a16="http://schemas.microsoft.com/office/drawing/2014/main" val="20000"/>
                    </a:ext>
                  </a:extLst>
                </a:gridCol>
                <a:gridCol w="1931443">
                  <a:extLst>
                    <a:ext uri="{9D8B030D-6E8A-4147-A177-3AD203B41FA5}">
                      <a16:colId xmlns="" xmlns:a16="http://schemas.microsoft.com/office/drawing/2014/main" val="20001"/>
                    </a:ext>
                  </a:extLst>
                </a:gridCol>
                <a:gridCol w="1931443">
                  <a:extLst>
                    <a:ext uri="{9D8B030D-6E8A-4147-A177-3AD203B41FA5}">
                      <a16:colId xmlns="" xmlns:a16="http://schemas.microsoft.com/office/drawing/2014/main" val="20002"/>
                    </a:ext>
                  </a:extLst>
                </a:gridCol>
                <a:gridCol w="1931443">
                  <a:extLst>
                    <a:ext uri="{9D8B030D-6E8A-4147-A177-3AD203B41FA5}">
                      <a16:colId xmlns="" xmlns:a16="http://schemas.microsoft.com/office/drawing/2014/main" val="20003"/>
                    </a:ext>
                  </a:extLst>
                </a:gridCol>
                <a:gridCol w="1931443">
                  <a:extLst>
                    <a:ext uri="{9D8B030D-6E8A-4147-A177-3AD203B41FA5}">
                      <a16:colId xmlns="" xmlns:a16="http://schemas.microsoft.com/office/drawing/2014/main" val="20004"/>
                    </a:ext>
                  </a:extLst>
                </a:gridCol>
                <a:gridCol w="347466">
                  <a:extLst>
                    <a:ext uri="{9D8B030D-6E8A-4147-A177-3AD203B41FA5}">
                      <a16:colId xmlns="" xmlns:a16="http://schemas.microsoft.com/office/drawing/2014/main" val="20005"/>
                    </a:ext>
                  </a:extLst>
                </a:gridCol>
              </a:tblGrid>
              <a:tr h="290426">
                <a:tc>
                  <a:txBody>
                    <a:bodyPr/>
                    <a:lstStyle/>
                    <a:p>
                      <a:pPr algn="ctr"/>
                      <a:endParaRPr lang="en-CA" sz="12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3346"/>
                    </a:solidFill>
                  </a:tcPr>
                </a:tc>
                <a:tc>
                  <a:txBody>
                    <a:bodyPr/>
                    <a:lstStyle/>
                    <a:p>
                      <a:pPr algn="ctr"/>
                      <a:r>
                        <a:rPr lang="en-CA" sz="1200" b="1" dirty="0">
                          <a:solidFill>
                            <a:schemeClr val="bg1"/>
                          </a:solidFill>
                        </a:rPr>
                        <a:t>Workshop Day 1</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3346"/>
                    </a:solidFill>
                  </a:tcPr>
                </a:tc>
                <a:tc>
                  <a:txBody>
                    <a:bodyPr/>
                    <a:lstStyle/>
                    <a:p>
                      <a:pPr algn="ctr"/>
                      <a:r>
                        <a:rPr lang="en-CA" sz="1200" b="1" dirty="0">
                          <a:solidFill>
                            <a:schemeClr val="bg1"/>
                          </a:solidFill>
                        </a:rPr>
                        <a:t>Workshop Day 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4158"/>
                    </a:solidFill>
                  </a:tcPr>
                </a:tc>
                <a:tc>
                  <a:txBody>
                    <a:bodyPr/>
                    <a:lstStyle/>
                    <a:p>
                      <a:pPr algn="ctr"/>
                      <a:r>
                        <a:rPr lang="en-CA" sz="1200" b="1" dirty="0">
                          <a:solidFill>
                            <a:schemeClr val="bg1"/>
                          </a:solidFill>
                        </a:rPr>
                        <a:t>Workshop Day 3</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45978"/>
                    </a:solidFill>
                  </a:tcPr>
                </a:tc>
                <a:tc>
                  <a:txBody>
                    <a:bodyPr/>
                    <a:lstStyle/>
                    <a:p>
                      <a:pPr algn="ctr"/>
                      <a:r>
                        <a:rPr lang="en-CA" sz="1200" b="1" dirty="0">
                          <a:solidFill>
                            <a:schemeClr val="bg1"/>
                          </a:solidFill>
                        </a:rPr>
                        <a:t>Workshop Day 4</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06F96"/>
                    </a:solidFill>
                  </a:tcPr>
                </a:tc>
                <a:tc rowSpan="3">
                  <a:txBody>
                    <a:bodyPr/>
                    <a:lstStyle/>
                    <a:p>
                      <a:pPr algn="ctr"/>
                      <a:r>
                        <a:rPr lang="en-CA" sz="1200" b="1" dirty="0">
                          <a:solidFill>
                            <a:schemeClr val="bg1"/>
                          </a:solidFill>
                        </a:rPr>
                        <a:t>Day 5: </a:t>
                      </a:r>
                      <a:r>
                        <a:rPr lang="en-CA" sz="1200" b="1" dirty="0" smtClean="0">
                          <a:solidFill>
                            <a:schemeClr val="bg1"/>
                          </a:solidFill>
                        </a:rPr>
                        <a:t>Off-Site</a:t>
                      </a:r>
                      <a:r>
                        <a:rPr lang="en-CA" sz="1200" b="1" baseline="0" dirty="0" smtClean="0">
                          <a:solidFill>
                            <a:schemeClr val="bg1"/>
                          </a:solidFill>
                        </a:rPr>
                        <a:t> </a:t>
                      </a:r>
                      <a:r>
                        <a:rPr lang="en-CA" sz="1200" b="1" baseline="0" dirty="0">
                          <a:solidFill>
                            <a:schemeClr val="bg1"/>
                          </a:solidFill>
                        </a:rPr>
                        <a:t>D</a:t>
                      </a:r>
                      <a:r>
                        <a:rPr lang="en-CA" sz="1200" b="1" baseline="0" dirty="0" smtClean="0">
                          <a:solidFill>
                            <a:schemeClr val="bg1"/>
                          </a:solidFill>
                        </a:rPr>
                        <a:t>eliverables Wrap-Up</a:t>
                      </a:r>
                      <a:endParaRPr lang="en-CA" sz="1200" b="1" dirty="0">
                        <a:solidFill>
                          <a:schemeClr val="bg1"/>
                        </a:solidFill>
                      </a:endParaRPr>
                    </a:p>
                  </a:txBody>
                  <a:tcPr vert="vert270"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06F96"/>
                    </a:solidFill>
                  </a:tcPr>
                </a:tc>
                <a:extLst>
                  <a:ext uri="{0D108BD9-81ED-4DB2-BD59-A6C34878D82A}">
                    <a16:rowId xmlns="" xmlns:a16="http://schemas.microsoft.com/office/drawing/2014/main" val="10000"/>
                  </a:ext>
                </a:extLst>
              </a:tr>
              <a:tr h="3016287">
                <a:tc>
                  <a:txBody>
                    <a:bodyPr/>
                    <a:lstStyle/>
                    <a:p>
                      <a:pPr marL="216000" indent="-457200" algn="ctr">
                        <a:spcAft>
                          <a:spcPts val="500"/>
                        </a:spcAft>
                      </a:pPr>
                      <a:r>
                        <a:rPr lang="en-CA" sz="1200" b="1" baseline="0" dirty="0">
                          <a:solidFill>
                            <a:schemeClr val="bg1"/>
                          </a:solidFill>
                        </a:rPr>
                        <a:t>Activiti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algn="ctr" defTabSz="914400" rtl="0" eaLnBrk="1" latinLnBrk="0" hangingPunct="1">
                        <a:spcBef>
                          <a:spcPts val="0"/>
                        </a:spcBef>
                        <a:spcAft>
                          <a:spcPts val="1200"/>
                        </a:spcAft>
                      </a:pPr>
                      <a:r>
                        <a:rPr lang="en-CA" sz="1000" b="1" kern="1200" dirty="0">
                          <a:solidFill>
                            <a:schemeClr val="tx1"/>
                          </a:solidFill>
                          <a:latin typeface="+mn-lt"/>
                          <a:ea typeface="+mn-ea"/>
                          <a:cs typeface="+mn-cs"/>
                        </a:rPr>
                        <a:t>Identify DRP Maturity,</a:t>
                      </a:r>
                      <a:r>
                        <a:rPr lang="en-CA" sz="1000" b="1" kern="1200" baseline="0" dirty="0">
                          <a:solidFill>
                            <a:schemeClr val="tx1"/>
                          </a:solidFill>
                          <a:latin typeface="+mn-lt"/>
                          <a:ea typeface="+mn-ea"/>
                          <a:cs typeface="+mn-cs"/>
                        </a:rPr>
                        <a:t> Key </a:t>
                      </a:r>
                      <a:r>
                        <a:rPr lang="en-CA" sz="1000" b="1" kern="1200" baseline="0" dirty="0" smtClean="0">
                          <a:solidFill>
                            <a:schemeClr val="tx1"/>
                          </a:solidFill>
                          <a:latin typeface="+mn-lt"/>
                          <a:ea typeface="+mn-ea"/>
                          <a:cs typeface="+mn-cs"/>
                        </a:rPr>
                        <a:t>Systems, </a:t>
                      </a:r>
                      <a:r>
                        <a:rPr lang="en-CA" sz="1000" b="1" kern="1200" baseline="0" dirty="0">
                          <a:solidFill>
                            <a:schemeClr val="tx1"/>
                          </a:solidFill>
                          <a:latin typeface="+mn-lt"/>
                          <a:ea typeface="+mn-ea"/>
                          <a:cs typeface="+mn-cs"/>
                        </a:rPr>
                        <a:t>and Dependencies</a:t>
                      </a:r>
                      <a:endParaRPr lang="en-CA" sz="1000" b="1" kern="1200" dirty="0">
                        <a:solidFill>
                          <a:schemeClr val="tx1"/>
                        </a:solidFill>
                        <a:latin typeface="+mn-lt"/>
                        <a:ea typeface="+mn-ea"/>
                        <a:cs typeface="+mn-cs"/>
                      </a:endParaRPr>
                    </a:p>
                    <a:p>
                      <a:pPr marL="216000" indent="-457200">
                        <a:spcBef>
                          <a:spcPts val="300"/>
                        </a:spcBef>
                        <a:spcAft>
                          <a:spcPts val="300"/>
                        </a:spcAft>
                      </a:pPr>
                      <a:r>
                        <a:rPr lang="en-CA" sz="1000" b="1" dirty="0">
                          <a:solidFill>
                            <a:schemeClr val="tx1"/>
                          </a:solidFill>
                        </a:rPr>
                        <a:t>1.1</a:t>
                      </a:r>
                      <a:r>
                        <a:rPr lang="en-CA" sz="1000" b="0" dirty="0">
                          <a:solidFill>
                            <a:schemeClr val="tx1"/>
                          </a:solidFill>
                        </a:rPr>
                        <a:t> Assess current DRP maturity.</a:t>
                      </a:r>
                    </a:p>
                    <a:p>
                      <a:pPr marL="216000" marR="0" lvl="0" indent="-457200" algn="l" defTabSz="914400" rtl="0" eaLnBrk="1" fontAlgn="auto" latinLnBrk="0" hangingPunct="1">
                        <a:lnSpc>
                          <a:spcPct val="100000"/>
                        </a:lnSpc>
                        <a:spcBef>
                          <a:spcPts val="300"/>
                        </a:spcBef>
                        <a:spcAft>
                          <a:spcPts val="300"/>
                        </a:spcAft>
                        <a:buClrTx/>
                        <a:buSzTx/>
                        <a:buFontTx/>
                        <a:buNone/>
                        <a:tabLst/>
                        <a:defRPr/>
                      </a:pPr>
                      <a:r>
                        <a:rPr lang="en-CA" sz="1000" b="1" dirty="0">
                          <a:solidFill>
                            <a:schemeClr val="tx1"/>
                          </a:solidFill>
                        </a:rPr>
                        <a:t>1.2</a:t>
                      </a:r>
                      <a:r>
                        <a:rPr lang="en-CA" sz="1000" b="0" dirty="0">
                          <a:solidFill>
                            <a:schemeClr val="tx1"/>
                          </a:solidFill>
                        </a:rPr>
                        <a:t> Identify mission critical business activities</a:t>
                      </a:r>
                      <a:r>
                        <a:rPr lang="en-CA" sz="1000" b="0" baseline="0" dirty="0">
                          <a:solidFill>
                            <a:schemeClr val="tx1"/>
                          </a:solidFill>
                        </a:rPr>
                        <a:t> and supporting systems and applications.</a:t>
                      </a:r>
                    </a:p>
                    <a:p>
                      <a:pPr marL="216000" marR="0" lvl="0" indent="-457200" algn="l" defTabSz="914400" rtl="0" eaLnBrk="1" fontAlgn="auto" latinLnBrk="0" hangingPunct="1">
                        <a:lnSpc>
                          <a:spcPct val="100000"/>
                        </a:lnSpc>
                        <a:spcBef>
                          <a:spcPts val="300"/>
                        </a:spcBef>
                        <a:spcAft>
                          <a:spcPts val="300"/>
                        </a:spcAft>
                        <a:buClrTx/>
                        <a:buSzTx/>
                        <a:buFontTx/>
                        <a:buNone/>
                        <a:tabLst/>
                        <a:defRPr/>
                      </a:pPr>
                      <a:r>
                        <a:rPr lang="en-CA" sz="1000" b="1" baseline="0" dirty="0">
                          <a:solidFill>
                            <a:schemeClr val="tx1"/>
                          </a:solidFill>
                        </a:rPr>
                        <a:t>1.3 </a:t>
                      </a:r>
                      <a:r>
                        <a:rPr lang="en-CA" sz="1000" b="0" baseline="0" dirty="0">
                          <a:solidFill>
                            <a:schemeClr val="tx1"/>
                          </a:solidFill>
                        </a:rPr>
                        <a:t>Identify current recovery strategies and challenges to DR planning.</a:t>
                      </a:r>
                      <a:endParaRPr lang="en-CA" sz="1000" b="1" dirty="0">
                        <a:solidFill>
                          <a:schemeClr val="tx1"/>
                        </a:solidFill>
                      </a:endParaRPr>
                    </a:p>
                    <a:p>
                      <a:pPr marL="216000" marR="0" indent="-457200" algn="l" defTabSz="914400" rtl="0" eaLnBrk="1" fontAlgn="auto" latinLnBrk="0" hangingPunct="1">
                        <a:lnSpc>
                          <a:spcPct val="100000"/>
                        </a:lnSpc>
                        <a:spcBef>
                          <a:spcPts val="300"/>
                        </a:spcBef>
                        <a:spcAft>
                          <a:spcPts val="300"/>
                        </a:spcAft>
                        <a:buClrTx/>
                        <a:buSzTx/>
                        <a:buFontTx/>
                        <a:buNone/>
                        <a:tabLst/>
                        <a:defRPr/>
                      </a:pPr>
                      <a:r>
                        <a:rPr lang="en-CA" sz="1000" b="1" dirty="0">
                          <a:solidFill>
                            <a:schemeClr val="tx1"/>
                          </a:solidFill>
                        </a:rPr>
                        <a:t>1.4 </a:t>
                      </a:r>
                      <a:r>
                        <a:rPr lang="en-CA" sz="1000" b="0" dirty="0">
                          <a:solidFill>
                            <a:schemeClr val="tx1"/>
                          </a:solidFill>
                        </a:rPr>
                        <a:t>Select</a:t>
                      </a:r>
                      <a:r>
                        <a:rPr lang="en-CA" sz="1000" b="0" baseline="0" dirty="0">
                          <a:solidFill>
                            <a:schemeClr val="tx1"/>
                          </a:solidFill>
                        </a:rPr>
                        <a:t> key applications and dependencies.</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defTabSz="914400" rtl="0" eaLnBrk="1" latinLnBrk="0" hangingPunct="1">
                        <a:spcBef>
                          <a:spcPts val="0"/>
                        </a:spcBef>
                        <a:spcAft>
                          <a:spcPts val="1200"/>
                        </a:spcAft>
                      </a:pPr>
                      <a:r>
                        <a:rPr lang="en-CA" sz="1000" b="1" kern="1200" dirty="0">
                          <a:solidFill>
                            <a:schemeClr val="tx1"/>
                          </a:solidFill>
                          <a:latin typeface="+mn-lt"/>
                          <a:ea typeface="+mn-ea"/>
                          <a:cs typeface="+mn-cs"/>
                        </a:rPr>
                        <a:t>Conduct a BIA to Determine Acceptable RTOs and RPOs</a:t>
                      </a:r>
                    </a:p>
                    <a:p>
                      <a:pPr marL="216000" indent="-457200">
                        <a:spcBef>
                          <a:spcPts val="300"/>
                        </a:spcBef>
                        <a:spcAft>
                          <a:spcPts val="300"/>
                        </a:spcAft>
                      </a:pPr>
                      <a:r>
                        <a:rPr lang="en-CA" sz="1000" b="1" dirty="0">
                          <a:solidFill>
                            <a:schemeClr val="tx1"/>
                          </a:solidFill>
                        </a:rPr>
                        <a:t>2.1 </a:t>
                      </a:r>
                      <a:r>
                        <a:rPr lang="en-CA" sz="1000" b="0" dirty="0">
                          <a:solidFill>
                            <a:schemeClr val="tx1"/>
                          </a:solidFill>
                        </a:rPr>
                        <a:t>Define an objective scoring scale to indicate different levels of impact.</a:t>
                      </a:r>
                    </a:p>
                    <a:p>
                      <a:pPr marL="216000" indent="-457200">
                        <a:spcBef>
                          <a:spcPts val="300"/>
                        </a:spcBef>
                        <a:spcAft>
                          <a:spcPts val="300"/>
                        </a:spcAft>
                      </a:pPr>
                      <a:r>
                        <a:rPr lang="en-CA" sz="1000" b="1" dirty="0">
                          <a:solidFill>
                            <a:schemeClr val="tx1"/>
                          </a:solidFill>
                        </a:rPr>
                        <a:t>2.2 </a:t>
                      </a:r>
                      <a:r>
                        <a:rPr lang="en-CA" sz="1000" b="0" dirty="0">
                          <a:solidFill>
                            <a:schemeClr val="tx1"/>
                          </a:solidFill>
                        </a:rPr>
                        <a:t>Estimate the impact of downtime.</a:t>
                      </a:r>
                    </a:p>
                    <a:p>
                      <a:pPr marL="216000" indent="-457200">
                        <a:spcBef>
                          <a:spcPts val="300"/>
                        </a:spcBef>
                        <a:spcAft>
                          <a:spcPts val="300"/>
                        </a:spcAft>
                      </a:pPr>
                      <a:r>
                        <a:rPr lang="en-CA" sz="1000" b="1" dirty="0">
                          <a:solidFill>
                            <a:schemeClr val="tx1"/>
                          </a:solidFill>
                        </a:rPr>
                        <a:t>2.3</a:t>
                      </a:r>
                      <a:r>
                        <a:rPr lang="en-CA" sz="1000" b="0" dirty="0">
                          <a:solidFill>
                            <a:schemeClr val="tx1"/>
                          </a:solidFill>
                        </a:rPr>
                        <a:t> Determine</a:t>
                      </a:r>
                      <a:r>
                        <a:rPr lang="en-CA" sz="1000" b="0" baseline="0" dirty="0">
                          <a:solidFill>
                            <a:schemeClr val="tx1"/>
                          </a:solidFill>
                        </a:rPr>
                        <a:t> acceptable RTO/RPO targets for systems and applications based on the business impact of downtime.</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defTabSz="914400" rtl="0" eaLnBrk="1" latinLnBrk="0" hangingPunct="1">
                        <a:spcBef>
                          <a:spcPts val="0"/>
                        </a:spcBef>
                        <a:spcAft>
                          <a:spcPts val="1200"/>
                        </a:spcAft>
                      </a:pPr>
                      <a:r>
                        <a:rPr lang="en-CA" sz="1000" b="1" kern="1200" dirty="0">
                          <a:solidFill>
                            <a:schemeClr val="tx1"/>
                          </a:solidFill>
                          <a:latin typeface="+mn-lt"/>
                          <a:ea typeface="+mn-ea"/>
                          <a:cs typeface="+mn-cs"/>
                        </a:rPr>
                        <a:t>Determine the </a:t>
                      </a:r>
                      <a:r>
                        <a:rPr lang="en-CA" sz="1000" b="1" kern="1200" dirty="0" smtClean="0">
                          <a:solidFill>
                            <a:schemeClr val="tx1"/>
                          </a:solidFill>
                          <a:latin typeface="+mn-lt"/>
                          <a:ea typeface="+mn-ea"/>
                          <a:cs typeface="+mn-cs"/>
                        </a:rPr>
                        <a:t>Current </a:t>
                      </a:r>
                      <a:r>
                        <a:rPr lang="en-CA" sz="1000" b="1" kern="1200" dirty="0">
                          <a:solidFill>
                            <a:schemeClr val="tx1"/>
                          </a:solidFill>
                          <a:latin typeface="+mn-lt"/>
                          <a:ea typeface="+mn-ea"/>
                          <a:cs typeface="+mn-cs"/>
                        </a:rPr>
                        <a:t>R</a:t>
                      </a:r>
                      <a:r>
                        <a:rPr lang="en-CA" sz="1000" b="1" kern="1200" dirty="0" smtClean="0">
                          <a:solidFill>
                            <a:schemeClr val="tx1"/>
                          </a:solidFill>
                          <a:latin typeface="+mn-lt"/>
                          <a:ea typeface="+mn-ea"/>
                          <a:cs typeface="+mn-cs"/>
                        </a:rPr>
                        <a:t>ecovery </a:t>
                      </a:r>
                      <a:r>
                        <a:rPr lang="en-CA" sz="1000" b="1" kern="1200" dirty="0">
                          <a:solidFill>
                            <a:schemeClr val="tx1"/>
                          </a:solidFill>
                          <a:latin typeface="+mn-lt"/>
                          <a:ea typeface="+mn-ea"/>
                          <a:cs typeface="+mn-cs"/>
                        </a:rPr>
                        <a:t>T</a:t>
                      </a:r>
                      <a:r>
                        <a:rPr lang="en-CA" sz="1000" b="1" kern="1200" dirty="0" smtClean="0">
                          <a:solidFill>
                            <a:schemeClr val="tx1"/>
                          </a:solidFill>
                          <a:latin typeface="+mn-lt"/>
                          <a:ea typeface="+mn-ea"/>
                          <a:cs typeface="+mn-cs"/>
                        </a:rPr>
                        <a:t>imeline </a:t>
                      </a:r>
                      <a:r>
                        <a:rPr lang="en-CA" sz="1000" b="1" kern="1200" dirty="0">
                          <a:solidFill>
                            <a:schemeClr val="tx1"/>
                          </a:solidFill>
                          <a:latin typeface="+mn-lt"/>
                          <a:ea typeface="+mn-ea"/>
                          <a:cs typeface="+mn-cs"/>
                        </a:rPr>
                        <a:t>and DR </a:t>
                      </a:r>
                      <a:r>
                        <a:rPr lang="en-CA" sz="1000" b="1" kern="1200" dirty="0" smtClean="0">
                          <a:solidFill>
                            <a:schemeClr val="tx1"/>
                          </a:solidFill>
                          <a:latin typeface="+mn-lt"/>
                          <a:ea typeface="+mn-ea"/>
                          <a:cs typeface="+mn-cs"/>
                        </a:rPr>
                        <a:t>Gaps</a:t>
                      </a:r>
                      <a:endParaRPr lang="en-CA" sz="1000" b="1" kern="1200" dirty="0">
                        <a:solidFill>
                          <a:schemeClr val="tx1"/>
                        </a:solidFill>
                        <a:latin typeface="+mn-lt"/>
                        <a:ea typeface="+mn-ea"/>
                        <a:cs typeface="+mn-cs"/>
                      </a:endParaRPr>
                    </a:p>
                    <a:p>
                      <a:pPr marL="216000" indent="-457200">
                        <a:spcBef>
                          <a:spcPts val="300"/>
                        </a:spcBef>
                        <a:spcAft>
                          <a:spcPts val="300"/>
                        </a:spcAft>
                      </a:pPr>
                      <a:r>
                        <a:rPr lang="en-CA" sz="1000" b="1" dirty="0">
                          <a:solidFill>
                            <a:schemeClr val="tx1"/>
                          </a:solidFill>
                        </a:rPr>
                        <a:t>3.1 </a:t>
                      </a:r>
                      <a:r>
                        <a:rPr lang="en-CA" sz="1000" b="0" dirty="0">
                          <a:solidFill>
                            <a:schemeClr val="tx1"/>
                          </a:solidFill>
                        </a:rPr>
                        <a:t>Conduct a tabletop exercise</a:t>
                      </a:r>
                      <a:r>
                        <a:rPr lang="en-CA" sz="1000" b="0" baseline="0" dirty="0">
                          <a:solidFill>
                            <a:schemeClr val="tx1"/>
                          </a:solidFill>
                        </a:rPr>
                        <a:t> to determine current recovery procedures. </a:t>
                      </a:r>
                      <a:endParaRPr lang="en-CA" sz="1000" b="0" dirty="0">
                        <a:solidFill>
                          <a:schemeClr val="tx1"/>
                        </a:solidFill>
                      </a:endParaRPr>
                    </a:p>
                    <a:p>
                      <a:pPr marL="216000" indent="-457200">
                        <a:spcBef>
                          <a:spcPts val="300"/>
                        </a:spcBef>
                        <a:spcAft>
                          <a:spcPts val="300"/>
                        </a:spcAft>
                      </a:pPr>
                      <a:r>
                        <a:rPr lang="en-CA" sz="1000" b="1" dirty="0">
                          <a:solidFill>
                            <a:schemeClr val="tx1"/>
                          </a:solidFill>
                        </a:rPr>
                        <a:t>3.2</a:t>
                      </a:r>
                      <a:r>
                        <a:rPr lang="en-CA" sz="1000" b="0" dirty="0">
                          <a:solidFill>
                            <a:schemeClr val="tx1"/>
                          </a:solidFill>
                        </a:rPr>
                        <a:t> Identify</a:t>
                      </a:r>
                      <a:r>
                        <a:rPr lang="en-CA" sz="1000" b="0" baseline="0" dirty="0">
                          <a:solidFill>
                            <a:schemeClr val="tx1"/>
                          </a:solidFill>
                        </a:rPr>
                        <a:t> gaps between current and desired capabilities.  </a:t>
                      </a:r>
                      <a:endParaRPr lang="en-CA" sz="1000" b="0" dirty="0">
                        <a:solidFill>
                          <a:schemeClr val="tx1"/>
                        </a:solidFill>
                      </a:endParaRPr>
                    </a:p>
                    <a:p>
                      <a:pPr marL="216000" indent="-457200">
                        <a:spcBef>
                          <a:spcPts val="300"/>
                        </a:spcBef>
                        <a:spcAft>
                          <a:spcPts val="300"/>
                        </a:spcAft>
                      </a:pPr>
                      <a:r>
                        <a:rPr lang="en-CA" sz="1000" b="1" dirty="0">
                          <a:solidFill>
                            <a:schemeClr val="tx1"/>
                          </a:solidFill>
                        </a:rPr>
                        <a:t>3.3</a:t>
                      </a:r>
                      <a:r>
                        <a:rPr lang="en-CA" sz="1000" b="0" dirty="0">
                          <a:solidFill>
                            <a:schemeClr val="tx1"/>
                          </a:solidFill>
                        </a:rPr>
                        <a:t> Determine what projects are required to close the</a:t>
                      </a:r>
                      <a:r>
                        <a:rPr lang="en-CA" sz="1000" b="0" baseline="0" dirty="0">
                          <a:solidFill>
                            <a:schemeClr val="tx1"/>
                          </a:solidFill>
                        </a:rPr>
                        <a:t> gap between current and desired DR capability.</a:t>
                      </a:r>
                      <a:endParaRPr lang="en-CA" sz="1000" b="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defTabSz="914400" rtl="0" eaLnBrk="1" latinLnBrk="0" hangingPunct="1">
                        <a:spcBef>
                          <a:spcPts val="0"/>
                        </a:spcBef>
                        <a:spcAft>
                          <a:spcPts val="1200"/>
                        </a:spcAft>
                      </a:pPr>
                      <a:r>
                        <a:rPr lang="en-CA" sz="1000" b="1" dirty="0">
                          <a:solidFill>
                            <a:schemeClr val="tx1"/>
                          </a:solidFill>
                        </a:rPr>
                        <a:t>Create a </a:t>
                      </a:r>
                      <a:r>
                        <a:rPr lang="en-CA" sz="1000" b="1" dirty="0" smtClean="0">
                          <a:solidFill>
                            <a:schemeClr val="tx1"/>
                          </a:solidFill>
                        </a:rPr>
                        <a:t>Roadmap </a:t>
                      </a:r>
                      <a:r>
                        <a:rPr lang="en-CA" sz="1000" b="1" dirty="0">
                          <a:solidFill>
                            <a:schemeClr val="tx1"/>
                          </a:solidFill>
                        </a:rPr>
                        <a:t>to </a:t>
                      </a:r>
                      <a:r>
                        <a:rPr lang="en-CA" sz="1000" b="1" dirty="0" smtClean="0">
                          <a:solidFill>
                            <a:schemeClr val="tx1"/>
                          </a:solidFill>
                        </a:rPr>
                        <a:t>Close </a:t>
                      </a:r>
                      <a:r>
                        <a:rPr lang="en-CA" sz="1000" b="1" dirty="0">
                          <a:solidFill>
                            <a:schemeClr val="tx1"/>
                          </a:solidFill>
                        </a:rPr>
                        <a:t>DR </a:t>
                      </a:r>
                      <a:r>
                        <a:rPr lang="en-CA" sz="1000" b="1" dirty="0" smtClean="0">
                          <a:solidFill>
                            <a:schemeClr val="tx1"/>
                          </a:solidFill>
                        </a:rPr>
                        <a:t>Gaps </a:t>
                      </a:r>
                      <a:endParaRPr lang="en-CA" sz="1000" b="1" dirty="0">
                        <a:solidFill>
                          <a:schemeClr val="tx1"/>
                        </a:solidFill>
                      </a:endParaRPr>
                    </a:p>
                    <a:p>
                      <a:pPr marL="216000" marR="0" indent="-457200" algn="l" defTabSz="914400" rtl="0" eaLnBrk="1" fontAlgn="auto" latinLnBrk="0" hangingPunct="1">
                        <a:lnSpc>
                          <a:spcPct val="100000"/>
                        </a:lnSpc>
                        <a:spcBef>
                          <a:spcPts val="300"/>
                        </a:spcBef>
                        <a:spcAft>
                          <a:spcPts val="300"/>
                        </a:spcAft>
                        <a:buClrTx/>
                        <a:buSzTx/>
                        <a:buFontTx/>
                        <a:buNone/>
                        <a:tabLst/>
                        <a:defRPr/>
                      </a:pPr>
                      <a:r>
                        <a:rPr lang="en-CA" sz="1000" b="1" dirty="0">
                          <a:solidFill>
                            <a:schemeClr val="tx1"/>
                          </a:solidFill>
                        </a:rPr>
                        <a:t>4.1</a:t>
                      </a:r>
                      <a:r>
                        <a:rPr lang="en-CA" sz="1000" b="0" dirty="0">
                          <a:solidFill>
                            <a:schemeClr val="tx1"/>
                          </a:solidFill>
                        </a:rPr>
                        <a:t> Use tabletop planning to determine the desired-state</a:t>
                      </a:r>
                      <a:r>
                        <a:rPr lang="en-CA" sz="1000" b="0" baseline="0" dirty="0">
                          <a:solidFill>
                            <a:schemeClr val="tx1"/>
                          </a:solidFill>
                        </a:rPr>
                        <a:t> response plan. </a:t>
                      </a:r>
                      <a:endParaRPr lang="en-CA" sz="1000" b="1" dirty="0">
                        <a:solidFill>
                          <a:schemeClr val="tx1"/>
                        </a:solidFill>
                      </a:endParaRPr>
                    </a:p>
                    <a:p>
                      <a:pPr marL="216000" indent="-457200">
                        <a:spcBef>
                          <a:spcPts val="300"/>
                        </a:spcBef>
                        <a:spcAft>
                          <a:spcPts val="300"/>
                        </a:spcAft>
                      </a:pPr>
                      <a:r>
                        <a:rPr lang="en-CA" sz="1000" b="1" dirty="0">
                          <a:solidFill>
                            <a:schemeClr val="tx1"/>
                          </a:solidFill>
                        </a:rPr>
                        <a:t>4.2</a:t>
                      </a:r>
                      <a:r>
                        <a:rPr lang="en-CA" sz="1000" b="0" dirty="0">
                          <a:solidFill>
                            <a:schemeClr val="tx1"/>
                          </a:solidFill>
                        </a:rPr>
                        <a:t> Outline a strategy for using flowcharts, checklists,</a:t>
                      </a:r>
                      <a:r>
                        <a:rPr lang="en-CA" sz="1000" b="0" baseline="0" dirty="0">
                          <a:solidFill>
                            <a:schemeClr val="tx1"/>
                          </a:solidFill>
                        </a:rPr>
                        <a:t> and a summary document to complete your DRP.</a:t>
                      </a:r>
                      <a:endParaRPr lang="en-CA" sz="1000" b="0" dirty="0">
                        <a:solidFill>
                          <a:schemeClr val="tx1"/>
                        </a:solidFill>
                      </a:endParaRPr>
                    </a:p>
                    <a:p>
                      <a:pPr marL="216000" marR="0" indent="-457200" algn="l" defTabSz="914400" rtl="0" eaLnBrk="1" fontAlgn="auto" latinLnBrk="0" hangingPunct="1">
                        <a:lnSpc>
                          <a:spcPct val="100000"/>
                        </a:lnSpc>
                        <a:spcBef>
                          <a:spcPts val="300"/>
                        </a:spcBef>
                        <a:spcAft>
                          <a:spcPts val="300"/>
                        </a:spcAft>
                        <a:buClrTx/>
                        <a:buSzTx/>
                        <a:buFontTx/>
                        <a:buNone/>
                        <a:tabLst/>
                        <a:defRPr/>
                      </a:pPr>
                      <a:r>
                        <a:rPr lang="en-CA" sz="1000" b="1" dirty="0">
                          <a:solidFill>
                            <a:schemeClr val="tx1"/>
                          </a:solidFill>
                        </a:rPr>
                        <a:t>4.3 </a:t>
                      </a:r>
                      <a:r>
                        <a:rPr lang="en-CA" sz="1000" b="0" dirty="0">
                          <a:solidFill>
                            <a:schemeClr val="tx1"/>
                          </a:solidFill>
                        </a:rPr>
                        <a:t>Summarize the</a:t>
                      </a:r>
                      <a:r>
                        <a:rPr lang="en-CA" sz="1000" b="0" baseline="0" dirty="0">
                          <a:solidFill>
                            <a:schemeClr val="tx1"/>
                          </a:solidFill>
                        </a:rPr>
                        <a:t> workshop results, including current potential downtime and action items to close gaps.</a:t>
                      </a:r>
                      <a:endParaRPr lang="en-CA" sz="1000" b="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vMerge="1">
                  <a:txBody>
                    <a:bodyPr/>
                    <a:lstStyle/>
                    <a:p>
                      <a:pPr algn="ctr">
                        <a:spcAft>
                          <a:spcPts val="1200"/>
                        </a:spcAft>
                      </a:pPr>
                      <a:endParaRPr lang="en-CA" sz="1000" b="1">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 xmlns:a16="http://schemas.microsoft.com/office/drawing/2014/main" val="10001"/>
                  </a:ext>
                </a:extLst>
              </a:tr>
              <a:tr h="1306571">
                <a:tc>
                  <a:txBody>
                    <a:bodyPr/>
                    <a:lstStyle/>
                    <a:p>
                      <a:pPr marL="216000" marR="0" indent="-457200" algn="ctr" defTabSz="914400" rtl="0" eaLnBrk="1" fontAlgn="auto" latinLnBrk="0" hangingPunct="1">
                        <a:lnSpc>
                          <a:spcPct val="100000"/>
                        </a:lnSpc>
                        <a:spcBef>
                          <a:spcPts val="0"/>
                        </a:spcBef>
                        <a:spcAft>
                          <a:spcPts val="500"/>
                        </a:spcAft>
                        <a:buClrTx/>
                        <a:buSzTx/>
                        <a:buFontTx/>
                        <a:buNone/>
                        <a:tabLst/>
                        <a:defRPr/>
                      </a:pPr>
                      <a:r>
                        <a:rPr lang="en-CA" sz="1200" b="1" dirty="0">
                          <a:solidFill>
                            <a:srgbClr val="FFFFFF"/>
                          </a:solidFill>
                        </a:rPr>
                        <a:t>Deliverabl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144000" indent="-144000">
                        <a:spcBef>
                          <a:spcPts val="300"/>
                        </a:spcBef>
                        <a:spcAft>
                          <a:spcPts val="300"/>
                        </a:spcAft>
                        <a:buClrTx/>
                        <a:buFont typeface="+mj-lt"/>
                        <a:buAutoNum type="arabicPeriod"/>
                      </a:pPr>
                      <a:r>
                        <a:rPr lang="en-CA" sz="1000" b="0" i="1" baseline="0" dirty="0">
                          <a:solidFill>
                            <a:schemeClr val="tx1"/>
                          </a:solidFill>
                        </a:rPr>
                        <a:t>DRP Maturity Scorecard</a:t>
                      </a:r>
                    </a:p>
                    <a:p>
                      <a:pPr marL="144000" indent="-144000">
                        <a:spcBef>
                          <a:spcPts val="300"/>
                        </a:spcBef>
                        <a:spcAft>
                          <a:spcPts val="300"/>
                        </a:spcAft>
                        <a:buClrTx/>
                        <a:buFont typeface="+mj-lt"/>
                        <a:buAutoNum type="arabicPeriod"/>
                      </a:pPr>
                      <a:r>
                        <a:rPr lang="en-CA" sz="1000" b="0" baseline="0" dirty="0">
                          <a:solidFill>
                            <a:schemeClr val="tx1"/>
                          </a:solidFill>
                        </a:rPr>
                        <a:t>Applications and dependency </a:t>
                      </a:r>
                      <a:r>
                        <a:rPr lang="en-CA" sz="1000" b="0" baseline="0" dirty="0" smtClean="0">
                          <a:solidFill>
                            <a:schemeClr val="tx1"/>
                          </a:solidFill>
                        </a:rPr>
                        <a:t>mapping</a:t>
                      </a:r>
                      <a:endParaRPr lang="en-CA" sz="1000" b="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indent="0">
                        <a:spcBef>
                          <a:spcPts val="300"/>
                        </a:spcBef>
                        <a:spcAft>
                          <a:spcPts val="300"/>
                        </a:spcAft>
                        <a:buClrTx/>
                        <a:buFont typeface="+mj-lt"/>
                        <a:buNone/>
                      </a:pPr>
                      <a:r>
                        <a:rPr lang="en-CA" sz="1000" b="0" i="1" dirty="0" smtClean="0">
                          <a:solidFill>
                            <a:schemeClr val="tx1"/>
                          </a:solidFill>
                        </a:rPr>
                        <a:t>1. DRP </a:t>
                      </a:r>
                      <a:r>
                        <a:rPr lang="en-CA" sz="1000" b="0" i="1" baseline="0" dirty="0" smtClean="0">
                          <a:solidFill>
                            <a:schemeClr val="tx1"/>
                          </a:solidFill>
                        </a:rPr>
                        <a:t>Business Impact Analysis Tool:</a:t>
                      </a:r>
                      <a:r>
                        <a:rPr lang="en-CA" sz="1000" b="0" baseline="0" dirty="0" smtClean="0">
                          <a:solidFill>
                            <a:schemeClr val="tx1"/>
                          </a:solidFill>
                        </a:rPr>
                        <a:t> </a:t>
                      </a:r>
                      <a:endParaRPr lang="en-CA" sz="1000" b="0" baseline="0" dirty="0">
                        <a:solidFill>
                          <a:schemeClr val="tx1"/>
                        </a:solidFill>
                      </a:endParaRPr>
                    </a:p>
                    <a:p>
                      <a:pPr marL="171450" indent="-171450">
                        <a:spcBef>
                          <a:spcPts val="300"/>
                        </a:spcBef>
                        <a:spcAft>
                          <a:spcPts val="300"/>
                        </a:spcAft>
                        <a:buClrTx/>
                        <a:buFont typeface="Arial" panose="020B0604020202020204" pitchFamily="34" charset="0"/>
                        <a:buChar char="•"/>
                      </a:pPr>
                      <a:r>
                        <a:rPr lang="en-CA" sz="1000" b="0" baseline="0" dirty="0">
                          <a:solidFill>
                            <a:schemeClr val="tx1"/>
                          </a:solidFill>
                        </a:rPr>
                        <a:t>Acceptable RTOs/RPOs to dictate recovery </a:t>
                      </a:r>
                      <a:r>
                        <a:rPr lang="en-CA" sz="1000" b="0" baseline="0" dirty="0" smtClean="0">
                          <a:solidFill>
                            <a:schemeClr val="tx1"/>
                          </a:solidFill>
                        </a:rPr>
                        <a:t>strategy</a:t>
                      </a:r>
                      <a:endParaRPr lang="en-CA" sz="1000" b="0" baseline="0" dirty="0">
                        <a:solidFill>
                          <a:schemeClr val="tx1"/>
                        </a:solidFill>
                      </a:endParaRPr>
                    </a:p>
                    <a:p>
                      <a:pPr marL="171450" indent="-171450">
                        <a:spcBef>
                          <a:spcPts val="300"/>
                        </a:spcBef>
                        <a:spcAft>
                          <a:spcPts val="300"/>
                        </a:spcAft>
                        <a:buClrTx/>
                        <a:buFont typeface="Arial" panose="020B0604020202020204" pitchFamily="34" charset="0"/>
                        <a:buChar char="•"/>
                      </a:pPr>
                      <a:r>
                        <a:rPr lang="en-CA" sz="1000" b="0" baseline="0" dirty="0">
                          <a:solidFill>
                            <a:schemeClr val="tx1"/>
                          </a:solidFill>
                        </a:rPr>
                        <a:t>Highlight the importance of DRP </a:t>
                      </a:r>
                      <a:r>
                        <a:rPr lang="en-CA" sz="1000" b="0" baseline="0" dirty="0" smtClean="0">
                          <a:solidFill>
                            <a:schemeClr val="tx1"/>
                          </a:solidFill>
                        </a:rPr>
                        <a:t>efforts</a:t>
                      </a:r>
                      <a:endParaRPr lang="en-CA" sz="1000" b="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Bef>
                          <a:spcPts val="300"/>
                        </a:spcBef>
                        <a:spcAft>
                          <a:spcPts val="300"/>
                        </a:spcAft>
                        <a:buClrTx/>
                        <a:buFont typeface="+mj-lt"/>
                        <a:buAutoNum type="arabicPeriod"/>
                      </a:pPr>
                      <a:r>
                        <a:rPr lang="en-CA" sz="1000" b="0" i="1" dirty="0">
                          <a:solidFill>
                            <a:schemeClr val="tx1"/>
                          </a:solidFill>
                        </a:rPr>
                        <a:t>DRP</a:t>
                      </a:r>
                      <a:r>
                        <a:rPr lang="en-CA" sz="1000" b="0" i="1" baseline="0" dirty="0">
                          <a:solidFill>
                            <a:schemeClr val="tx1"/>
                          </a:solidFill>
                        </a:rPr>
                        <a:t> Business Impact Analysis Tool</a:t>
                      </a:r>
                    </a:p>
                    <a:p>
                      <a:pPr marL="144000" marR="0" indent="-144000" algn="l" defTabSz="914400" rtl="0" eaLnBrk="1" fontAlgn="auto" latinLnBrk="0" hangingPunct="1">
                        <a:lnSpc>
                          <a:spcPct val="100000"/>
                        </a:lnSpc>
                        <a:spcBef>
                          <a:spcPts val="300"/>
                        </a:spcBef>
                        <a:spcAft>
                          <a:spcPts val="300"/>
                        </a:spcAft>
                        <a:buClrTx/>
                        <a:buSzTx/>
                        <a:buFont typeface="+mj-lt"/>
                        <a:buAutoNum type="arabicPeriod"/>
                        <a:tabLst/>
                        <a:defRPr/>
                      </a:pPr>
                      <a:r>
                        <a:rPr lang="en-CA" sz="1000" b="0" i="1" baseline="0" dirty="0">
                          <a:solidFill>
                            <a:schemeClr val="tx1"/>
                          </a:solidFill>
                        </a:rPr>
                        <a:t>DRP Recovery </a:t>
                      </a:r>
                      <a:r>
                        <a:rPr lang="en-CA" sz="1000" b="0" i="1" baseline="0" dirty="0" smtClean="0">
                          <a:solidFill>
                            <a:schemeClr val="tx1"/>
                          </a:solidFill>
                        </a:rPr>
                        <a:t>Workflow Template </a:t>
                      </a:r>
                      <a:r>
                        <a:rPr lang="en-CA" sz="1000" b="0" baseline="0" dirty="0">
                          <a:solidFill>
                            <a:schemeClr val="tx1"/>
                          </a:solidFill>
                        </a:rPr>
                        <a:t>– Current State</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marR="0" lvl="0" indent="-144000" algn="l" defTabSz="914400" rtl="0" eaLnBrk="1" fontAlgn="auto" latinLnBrk="0" hangingPunct="1">
                        <a:lnSpc>
                          <a:spcPct val="100000"/>
                        </a:lnSpc>
                        <a:spcBef>
                          <a:spcPts val="300"/>
                        </a:spcBef>
                        <a:spcAft>
                          <a:spcPts val="300"/>
                        </a:spcAft>
                        <a:buClrTx/>
                        <a:buSzTx/>
                        <a:buFont typeface="+mj-lt"/>
                        <a:buAutoNum type="arabicPeriod"/>
                        <a:tabLst/>
                        <a:defRPr/>
                      </a:pPr>
                      <a:r>
                        <a:rPr lang="en-CA" sz="1000" b="0" i="1" baseline="0" dirty="0">
                          <a:solidFill>
                            <a:schemeClr val="tx1"/>
                          </a:solidFill>
                        </a:rPr>
                        <a:t>DRP </a:t>
                      </a:r>
                      <a:r>
                        <a:rPr lang="en-CA" sz="1000" b="0" i="1" baseline="0" dirty="0" smtClean="0">
                          <a:solidFill>
                            <a:schemeClr val="tx1"/>
                          </a:solidFill>
                        </a:rPr>
                        <a:t>Roadmap Tool</a:t>
                      </a:r>
                      <a:endParaRPr lang="en-CA" sz="1000" b="0" i="1" baseline="0" dirty="0">
                        <a:solidFill>
                          <a:schemeClr val="tx1"/>
                        </a:solidFill>
                      </a:endParaRPr>
                    </a:p>
                    <a:p>
                      <a:pPr marL="144000" indent="-144000">
                        <a:spcBef>
                          <a:spcPts val="300"/>
                        </a:spcBef>
                        <a:spcAft>
                          <a:spcPts val="300"/>
                        </a:spcAft>
                        <a:buClrTx/>
                        <a:buFont typeface="+mj-lt"/>
                        <a:buAutoNum type="arabicPeriod"/>
                      </a:pPr>
                      <a:r>
                        <a:rPr lang="en-CA" sz="1000" b="0" i="1" baseline="0" dirty="0" smtClean="0">
                          <a:solidFill>
                            <a:schemeClr val="tx1"/>
                          </a:solidFill>
                        </a:rPr>
                        <a:t>DRP Incident Response Management Tool:</a:t>
                      </a:r>
                      <a:r>
                        <a:rPr lang="en-CA" sz="1000" b="0" baseline="0" dirty="0" smtClean="0">
                          <a:solidFill>
                            <a:schemeClr val="tx1"/>
                          </a:solidFill>
                        </a:rPr>
                        <a:t> </a:t>
                      </a:r>
                      <a:r>
                        <a:rPr lang="en-CA" sz="1000" b="0" baseline="0" dirty="0">
                          <a:solidFill>
                            <a:schemeClr val="tx1"/>
                          </a:solidFill>
                        </a:rPr>
                        <a:t>Flowchart – Desired State</a:t>
                      </a:r>
                    </a:p>
                    <a:p>
                      <a:pPr marL="144000" marR="0" indent="-144000" algn="l" defTabSz="914400" rtl="0" eaLnBrk="1" fontAlgn="auto" latinLnBrk="0" hangingPunct="1">
                        <a:lnSpc>
                          <a:spcPct val="100000"/>
                        </a:lnSpc>
                        <a:spcBef>
                          <a:spcPts val="300"/>
                        </a:spcBef>
                        <a:spcAft>
                          <a:spcPts val="300"/>
                        </a:spcAft>
                        <a:buClrTx/>
                        <a:buSzTx/>
                        <a:buFont typeface="+mj-lt"/>
                        <a:buAutoNum type="arabicPeriod"/>
                        <a:tabLst/>
                        <a:defRPr/>
                      </a:pPr>
                      <a:r>
                        <a:rPr lang="en-CA" sz="1000" b="0" i="1" dirty="0" smtClean="0">
                          <a:solidFill>
                            <a:schemeClr val="tx1"/>
                          </a:solidFill>
                        </a:rPr>
                        <a:t>DRP Recap and Results</a:t>
                      </a:r>
                      <a:r>
                        <a:rPr lang="en-CA" sz="1000" b="0" i="1" baseline="0" dirty="0" smtClean="0">
                          <a:solidFill>
                            <a:schemeClr val="tx1"/>
                          </a:solidFill>
                        </a:rPr>
                        <a:t> Template</a:t>
                      </a:r>
                      <a:endParaRPr lang="en-CA" sz="1000" b="0" i="1" dirty="0">
                        <a:solidFill>
                          <a:schemeClr val="tx1"/>
                        </a:solidFill>
                      </a:endParaRPr>
                    </a:p>
                    <a:p>
                      <a:pPr marL="144000" marR="0" indent="-144000" algn="l" defTabSz="914400" rtl="0" eaLnBrk="1" fontAlgn="auto" latinLnBrk="0" hangingPunct="1">
                        <a:lnSpc>
                          <a:spcPct val="100000"/>
                        </a:lnSpc>
                        <a:spcBef>
                          <a:spcPts val="300"/>
                        </a:spcBef>
                        <a:spcAft>
                          <a:spcPts val="300"/>
                        </a:spcAft>
                        <a:buClrTx/>
                        <a:buSzTx/>
                        <a:buFont typeface="+mj-lt"/>
                        <a:buAutoNum type="arabicPeriod"/>
                        <a:tabLst/>
                        <a:defRPr/>
                      </a:pPr>
                      <a:r>
                        <a:rPr lang="en-CA" sz="1000" b="0" baseline="0" dirty="0">
                          <a:solidFill>
                            <a:schemeClr val="tx1"/>
                          </a:solidFill>
                        </a:rPr>
                        <a:t>Additional templates and how to complete them</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vMerge="1">
                  <a:txBody>
                    <a:bodyPr/>
                    <a:lstStyle/>
                    <a:p>
                      <a:pPr marL="144000" indent="-144000">
                        <a:spcAft>
                          <a:spcPts val="0"/>
                        </a:spcAft>
                        <a:buClrTx/>
                        <a:buFont typeface="+mj-lt"/>
                        <a:buAutoNum type="arabicPeriod"/>
                      </a:pPr>
                      <a:endParaRPr lang="en-CA" sz="1000" b="0" baseline="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 xmlns:a16="http://schemas.microsoft.com/office/drawing/2014/main" val="10002"/>
                  </a:ext>
                </a:extLst>
              </a:tr>
            </a:tbl>
          </a:graphicData>
        </a:graphic>
      </p:graphicFrame>
    </p:spTree>
    <p:extLst>
      <p:ext uri="{BB962C8B-B14F-4D97-AF65-F5344CB8AC3E}">
        <p14:creationId xmlns:p14="http://schemas.microsoft.com/office/powerpoint/2010/main" val="529181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p:nvPr/>
        </p:nvSpPr>
        <p:spPr>
          <a:xfrm>
            <a:off x="-1" y="-1905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r>
              <a:rPr lang="en-CA" sz="2400" dirty="0" smtClean="0"/>
              <a:t>End-user </a:t>
            </a:r>
            <a:r>
              <a:rPr lang="en-CA" sz="2400" dirty="0"/>
              <a:t>complaints distract from serious IT-based risks to business continuity  </a:t>
            </a:r>
            <a:endParaRPr lang="en-CA" sz="2400" dirty="0">
              <a:latin typeface="+mj-lt"/>
            </a:endParaRPr>
          </a:p>
        </p:txBody>
      </p:sp>
      <p:sp>
        <p:nvSpPr>
          <p:cNvPr id="3" name="Rectangle 3"/>
          <p:cNvSpPr/>
          <p:nvPr/>
        </p:nvSpPr>
        <p:spPr>
          <a:xfrm>
            <a:off x="-1" y="1884974"/>
            <a:ext cx="5669741" cy="4642413"/>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lgn="ctr">
              <a:spcAft>
                <a:spcPts val="800"/>
              </a:spcAft>
            </a:pPr>
            <a:endParaRPr lang="en-CA" sz="1200" dirty="0">
              <a:latin typeface="+mj-lt"/>
            </a:endParaRPr>
          </a:p>
        </p:txBody>
      </p:sp>
      <p:sp>
        <p:nvSpPr>
          <p:cNvPr id="4" name="TextBox 3"/>
          <p:cNvSpPr txBox="1"/>
          <p:nvPr/>
        </p:nvSpPr>
        <p:spPr>
          <a:xfrm>
            <a:off x="227372" y="2016272"/>
            <a:ext cx="5227765" cy="4539704"/>
          </a:xfrm>
          <a:prstGeom prst="rect">
            <a:avLst/>
          </a:prstGeom>
        </p:spPr>
        <p:txBody>
          <a:bodyPr wrap="square" rtlCol="0">
            <a:spAutoFit/>
          </a:bodyPr>
          <a:lstStyle/>
          <a:p>
            <a:pPr>
              <a:spcAft>
                <a:spcPts val="600"/>
              </a:spcAft>
            </a:pPr>
            <a:r>
              <a:rPr lang="en-CA" sz="1200" dirty="0">
                <a:solidFill>
                  <a:schemeClr val="bg1"/>
                </a:solidFill>
              </a:rPr>
              <a:t>A global manufacturer with annual sales over $1B worked with </a:t>
            </a:r>
            <a:r>
              <a:rPr lang="en-CA" sz="1200" dirty="0" smtClean="0">
                <a:solidFill>
                  <a:schemeClr val="bg1"/>
                </a:solidFill>
              </a:rPr>
              <a:t>Info-Tech </a:t>
            </a:r>
            <a:r>
              <a:rPr lang="en-CA" sz="1200" dirty="0">
                <a:solidFill>
                  <a:schemeClr val="bg1"/>
                </a:solidFill>
              </a:rPr>
              <a:t>to improve DR capabilities. </a:t>
            </a:r>
          </a:p>
          <a:p>
            <a:pPr>
              <a:spcBef>
                <a:spcPts val="600"/>
              </a:spcBef>
              <a:spcAft>
                <a:spcPts val="600"/>
              </a:spcAft>
            </a:pPr>
            <a:r>
              <a:rPr lang="en-CA" sz="1300" b="1" dirty="0">
                <a:solidFill>
                  <a:schemeClr val="bg1"/>
                </a:solidFill>
              </a:rPr>
              <a:t>DRP </a:t>
            </a:r>
            <a:r>
              <a:rPr lang="en-CA" sz="1300" b="1" dirty="0" smtClean="0">
                <a:solidFill>
                  <a:schemeClr val="bg1"/>
                </a:solidFill>
              </a:rPr>
              <a:t>BIA</a:t>
            </a:r>
            <a:endParaRPr lang="en-CA" sz="1300" b="1" dirty="0">
              <a:solidFill>
                <a:schemeClr val="bg1"/>
              </a:solidFill>
            </a:endParaRPr>
          </a:p>
          <a:p>
            <a:pPr>
              <a:spcAft>
                <a:spcPts val="600"/>
              </a:spcAft>
            </a:pPr>
            <a:r>
              <a:rPr lang="en-CA" sz="1200" dirty="0">
                <a:solidFill>
                  <a:schemeClr val="bg1"/>
                </a:solidFill>
              </a:rPr>
              <a:t>Conversations with the IT team and business units identified the following impact of downtime over 24 hours:</a:t>
            </a:r>
          </a:p>
          <a:p>
            <a:pPr marL="171450" indent="-171450">
              <a:spcAft>
                <a:spcPts val="600"/>
              </a:spcAft>
              <a:buFont typeface="Arial" panose="020B0604020202020204" pitchFamily="34" charset="0"/>
              <a:buChar char="•"/>
            </a:pPr>
            <a:r>
              <a:rPr lang="en-CA" sz="1200" i="1" dirty="0">
                <a:solidFill>
                  <a:schemeClr val="bg1"/>
                </a:solidFill>
              </a:rPr>
              <a:t>Email: </a:t>
            </a:r>
            <a:r>
              <a:rPr lang="en-CA" sz="1200" dirty="0">
                <a:solidFill>
                  <a:schemeClr val="bg1"/>
                </a:solidFill>
              </a:rPr>
              <a:t>Direct Cost: $100k; Goodwill Impact Score: 8.5/16 </a:t>
            </a:r>
            <a:endParaRPr lang="en-CA" sz="1200" b="1" dirty="0">
              <a:solidFill>
                <a:schemeClr val="bg1"/>
              </a:solidFill>
            </a:endParaRPr>
          </a:p>
          <a:p>
            <a:pPr marL="171450" indent="-171450">
              <a:spcAft>
                <a:spcPts val="600"/>
              </a:spcAft>
              <a:buFont typeface="Arial" panose="020B0604020202020204" pitchFamily="34" charset="0"/>
              <a:buChar char="•"/>
            </a:pPr>
            <a:r>
              <a:rPr lang="en-CA" sz="1200" i="1" dirty="0">
                <a:solidFill>
                  <a:schemeClr val="bg1"/>
                </a:solidFill>
              </a:rPr>
              <a:t>ERP:</a:t>
            </a:r>
            <a:r>
              <a:rPr lang="en-CA" sz="1200" dirty="0">
                <a:solidFill>
                  <a:schemeClr val="bg1"/>
                </a:solidFill>
              </a:rPr>
              <a:t> Direct Cost: $1.35mm; Goodwill Impact Score: 12.5/16</a:t>
            </a:r>
            <a:endParaRPr lang="en-CA" sz="1200" b="1" i="1" dirty="0">
              <a:solidFill>
                <a:schemeClr val="bg1"/>
              </a:solidFill>
            </a:endParaRPr>
          </a:p>
          <a:p>
            <a:pPr>
              <a:spcBef>
                <a:spcPts val="600"/>
              </a:spcBef>
              <a:spcAft>
                <a:spcPts val="600"/>
              </a:spcAft>
            </a:pPr>
            <a:r>
              <a:rPr lang="en-CA" sz="1300" b="1" dirty="0">
                <a:solidFill>
                  <a:schemeClr val="bg1"/>
                </a:solidFill>
              </a:rPr>
              <a:t>Tabletop Testing and Recovery Capabilities</a:t>
            </a:r>
          </a:p>
          <a:p>
            <a:pPr>
              <a:spcAft>
                <a:spcPts val="600"/>
              </a:spcAft>
            </a:pPr>
            <a:r>
              <a:rPr lang="en-CA" sz="1200" dirty="0">
                <a:solidFill>
                  <a:schemeClr val="bg1"/>
                </a:solidFill>
              </a:rPr>
              <a:t>Reviewing the organization’s current systems recovery workflow identified the following capabilities:</a:t>
            </a:r>
          </a:p>
          <a:p>
            <a:pPr marL="171450" indent="-171450">
              <a:spcAft>
                <a:spcPts val="600"/>
              </a:spcAft>
              <a:buFont typeface="Arial" panose="020B0604020202020204" pitchFamily="34" charset="0"/>
              <a:buChar char="•"/>
            </a:pPr>
            <a:r>
              <a:rPr lang="en-CA" sz="1200" i="1" dirty="0">
                <a:solidFill>
                  <a:schemeClr val="bg1"/>
                </a:solidFill>
              </a:rPr>
              <a:t>Email:</a:t>
            </a:r>
            <a:r>
              <a:rPr lang="en-CA" sz="1200" dirty="0">
                <a:solidFill>
                  <a:schemeClr val="bg1"/>
                </a:solidFill>
              </a:rPr>
              <a:t> RTO: minutes, RPO: minutes</a:t>
            </a:r>
            <a:endParaRPr lang="en-CA" sz="1200" b="1" i="1" dirty="0">
              <a:solidFill>
                <a:schemeClr val="bg1"/>
              </a:solidFill>
            </a:endParaRPr>
          </a:p>
          <a:p>
            <a:pPr marL="171450" indent="-171450">
              <a:spcAft>
                <a:spcPts val="600"/>
              </a:spcAft>
              <a:buFont typeface="Arial" panose="020B0604020202020204" pitchFamily="34" charset="0"/>
              <a:buChar char="•"/>
            </a:pPr>
            <a:r>
              <a:rPr lang="en-CA" sz="1200" i="1" dirty="0">
                <a:solidFill>
                  <a:schemeClr val="bg1"/>
                </a:solidFill>
              </a:rPr>
              <a:t>ERP:</a:t>
            </a:r>
            <a:r>
              <a:rPr lang="en-CA" sz="1200" b="1" i="1" dirty="0">
                <a:solidFill>
                  <a:schemeClr val="bg1"/>
                </a:solidFill>
              </a:rPr>
              <a:t> </a:t>
            </a:r>
            <a:r>
              <a:rPr lang="en-CA" sz="1200" dirty="0">
                <a:solidFill>
                  <a:schemeClr val="bg1"/>
                </a:solidFill>
              </a:rPr>
              <a:t>RTO: 14 hours, RPO: 24 hours</a:t>
            </a:r>
            <a:endParaRPr lang="en-CA" sz="1200" b="1" dirty="0">
              <a:solidFill>
                <a:schemeClr val="bg1"/>
              </a:solidFill>
            </a:endParaRPr>
          </a:p>
          <a:p>
            <a:pPr>
              <a:spcBef>
                <a:spcPts val="600"/>
              </a:spcBef>
              <a:spcAft>
                <a:spcPts val="600"/>
              </a:spcAft>
            </a:pPr>
            <a:r>
              <a:rPr lang="en-CA" sz="1300" b="1" dirty="0">
                <a:solidFill>
                  <a:schemeClr val="bg1"/>
                </a:solidFill>
              </a:rPr>
              <a:t>Findings</a:t>
            </a:r>
          </a:p>
          <a:p>
            <a:pPr>
              <a:spcAft>
                <a:spcPts val="600"/>
              </a:spcAft>
            </a:pPr>
            <a:r>
              <a:rPr lang="en-CA" sz="1200" dirty="0">
                <a:solidFill>
                  <a:schemeClr val="bg1"/>
                </a:solidFill>
              </a:rPr>
              <a:t>Because of </a:t>
            </a:r>
            <a:r>
              <a:rPr lang="en-CA" sz="1200" dirty="0" smtClean="0">
                <a:solidFill>
                  <a:schemeClr val="bg1"/>
                </a:solidFill>
              </a:rPr>
              <a:t>end-user </a:t>
            </a:r>
            <a:r>
              <a:rPr lang="en-CA" sz="1200" dirty="0">
                <a:solidFill>
                  <a:schemeClr val="bg1"/>
                </a:solidFill>
              </a:rPr>
              <a:t>complaints, IT had invested heavily in email resiliency though email downtime had a relatively minimal impact on the business. After working through the methodology, it was clear that </a:t>
            </a:r>
            <a:r>
              <a:rPr lang="en-CA" sz="1200" b="1" dirty="0">
                <a:solidFill>
                  <a:schemeClr val="bg1"/>
                </a:solidFill>
              </a:rPr>
              <a:t>the business needed to provide additional support for critical systems. </a:t>
            </a:r>
          </a:p>
          <a:p>
            <a:pPr>
              <a:spcAft>
                <a:spcPts val="600"/>
              </a:spcAft>
            </a:pPr>
            <a:endParaRPr lang="en-CA" sz="1200" dirty="0">
              <a:solidFill>
                <a:schemeClr val="bg1"/>
              </a:solidFill>
            </a:endParaRPr>
          </a:p>
        </p:txBody>
      </p:sp>
      <p:sp>
        <p:nvSpPr>
          <p:cNvPr id="5" name="TextBox 4"/>
          <p:cNvSpPr txBox="1"/>
          <p:nvPr/>
        </p:nvSpPr>
        <p:spPr>
          <a:xfrm>
            <a:off x="5682510" y="2050380"/>
            <a:ext cx="3173051" cy="369332"/>
          </a:xfrm>
          <a:prstGeom prst="rect">
            <a:avLst/>
          </a:prstGeom>
        </p:spPr>
        <p:txBody>
          <a:bodyPr wrap="square" rtlCol="0">
            <a:spAutoFit/>
          </a:bodyPr>
          <a:lstStyle/>
          <a:p>
            <a:pPr algn="ctr"/>
            <a:r>
              <a:rPr lang="en-CA" b="1" dirty="0"/>
              <a:t>Insights at each </a:t>
            </a:r>
            <a:r>
              <a:rPr lang="en-CA" b="1" dirty="0" smtClean="0"/>
              <a:t>step:</a:t>
            </a:r>
            <a:endParaRPr lang="en-CA" b="1" dirty="0"/>
          </a:p>
        </p:txBody>
      </p:sp>
      <p:grpSp>
        <p:nvGrpSpPr>
          <p:cNvPr id="22" name="Group 21"/>
          <p:cNvGrpSpPr/>
          <p:nvPr/>
        </p:nvGrpSpPr>
        <p:grpSpPr>
          <a:xfrm>
            <a:off x="6353474" y="2644113"/>
            <a:ext cx="1831122" cy="3575712"/>
            <a:chOff x="6353474" y="2644113"/>
            <a:chExt cx="1831122" cy="3575712"/>
          </a:xfrm>
        </p:grpSpPr>
        <p:sp>
          <p:nvSpPr>
            <p:cNvPr id="7" name="Rectangle 6"/>
            <p:cNvSpPr/>
            <p:nvPr/>
          </p:nvSpPr>
          <p:spPr>
            <a:xfrm>
              <a:off x="6353474" y="2644113"/>
              <a:ext cx="1831122" cy="817152"/>
            </a:xfrm>
            <a:prstGeom prst="rect">
              <a:avLst/>
            </a:prstGeom>
            <a:solidFill>
              <a:srgbClr val="29475F"/>
            </a:solidFill>
            <a:ln>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t>Identify DR Maturity and System Dependencies</a:t>
              </a:r>
            </a:p>
          </p:txBody>
        </p:sp>
        <p:sp>
          <p:nvSpPr>
            <p:cNvPr id="8" name="Rectangle 7"/>
            <p:cNvSpPr/>
            <p:nvPr/>
          </p:nvSpPr>
          <p:spPr>
            <a:xfrm>
              <a:off x="6353474" y="3540735"/>
              <a:ext cx="1831122" cy="684314"/>
            </a:xfrm>
            <a:prstGeom prst="rect">
              <a:avLst/>
            </a:prstGeom>
            <a:solidFill>
              <a:srgbClr val="29475F"/>
            </a:solidFill>
            <a:ln>
              <a:solidFill>
                <a:srgbClr val="7F919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t>Conduct a </a:t>
              </a:r>
              <a:r>
                <a:rPr lang="en-CA" sz="1400" dirty="0" smtClean="0"/>
                <a:t>BIA</a:t>
              </a:r>
              <a:endParaRPr lang="en-CA" sz="1400" dirty="0"/>
            </a:p>
          </p:txBody>
        </p:sp>
        <p:sp>
          <p:nvSpPr>
            <p:cNvPr id="9" name="Rectangle 8"/>
            <p:cNvSpPr/>
            <p:nvPr/>
          </p:nvSpPr>
          <p:spPr>
            <a:xfrm>
              <a:off x="6353474" y="4304519"/>
              <a:ext cx="1831122" cy="1221300"/>
            </a:xfrm>
            <a:prstGeom prst="rect">
              <a:avLst/>
            </a:prstGeom>
            <a:solidFill>
              <a:srgbClr val="29475F"/>
            </a:solidFill>
            <a:ln>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t>Outline Incident Response and Recovery Workflow </a:t>
              </a:r>
              <a:r>
                <a:rPr lang="en-CA" sz="1400" dirty="0" smtClean="0"/>
                <a:t>With </a:t>
              </a:r>
              <a:r>
                <a:rPr lang="en-CA" sz="1400" dirty="0"/>
                <a:t>Tabletop Exercises</a:t>
              </a:r>
            </a:p>
          </p:txBody>
        </p:sp>
        <p:sp>
          <p:nvSpPr>
            <p:cNvPr id="10" name="Rectangle 9"/>
            <p:cNvSpPr/>
            <p:nvPr/>
          </p:nvSpPr>
          <p:spPr>
            <a:xfrm>
              <a:off x="6353474" y="5605288"/>
              <a:ext cx="1831122" cy="614537"/>
            </a:xfrm>
            <a:prstGeom prst="rect">
              <a:avLst/>
            </a:prstGeom>
            <a:solidFill>
              <a:srgbClr val="29475F"/>
            </a:solidFill>
            <a:ln>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t>Mitigate Gaps and Risks</a:t>
              </a:r>
            </a:p>
          </p:txBody>
        </p:sp>
      </p:grpSp>
      <p:grpSp>
        <p:nvGrpSpPr>
          <p:cNvPr id="12" name="Group 11"/>
          <p:cNvGrpSpPr/>
          <p:nvPr/>
        </p:nvGrpSpPr>
        <p:grpSpPr>
          <a:xfrm>
            <a:off x="-1" y="1139383"/>
            <a:ext cx="9144001" cy="796519"/>
            <a:chOff x="-2" y="294436"/>
            <a:chExt cx="9144001" cy="796519"/>
          </a:xfrm>
          <a:solidFill>
            <a:schemeClr val="accent3"/>
          </a:solidFill>
        </p:grpSpPr>
        <p:sp>
          <p:nvSpPr>
            <p:cNvPr id="13" name="Rectangle 12"/>
            <p:cNvSpPr/>
            <p:nvPr/>
          </p:nvSpPr>
          <p:spPr>
            <a:xfrm>
              <a:off x="-2" y="294436"/>
              <a:ext cx="9144001" cy="796519"/>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800" b="1" dirty="0"/>
                <a:t>CASE STUDY</a:t>
              </a:r>
            </a:p>
          </p:txBody>
        </p:sp>
        <p:sp>
          <p:nvSpPr>
            <p:cNvPr id="14" name="TextBox 13"/>
            <p:cNvSpPr txBox="1"/>
            <p:nvPr/>
          </p:nvSpPr>
          <p:spPr>
            <a:xfrm>
              <a:off x="3260376" y="374666"/>
              <a:ext cx="870437" cy="612155"/>
            </a:xfrm>
            <a:prstGeom prst="rect">
              <a:avLst/>
            </a:prstGeom>
            <a:solidFill>
              <a:schemeClr val="accent1"/>
            </a:solidFill>
          </p:spPr>
          <p:txBody>
            <a:bodyPr wrap="square" rtlCol="0">
              <a:spAutoFit/>
            </a:bodyPr>
            <a:lstStyle/>
            <a:p>
              <a:pPr algn="r">
                <a:lnSpc>
                  <a:spcPct val="150000"/>
                </a:lnSpc>
              </a:pPr>
              <a:r>
                <a:rPr lang="en-CA" sz="1200" b="1" dirty="0">
                  <a:solidFill>
                    <a:schemeClr val="bg1"/>
                  </a:solidFill>
                </a:rPr>
                <a:t>Industry</a:t>
              </a:r>
            </a:p>
            <a:p>
              <a:pPr algn="r">
                <a:lnSpc>
                  <a:spcPct val="150000"/>
                </a:lnSpc>
              </a:pPr>
              <a:r>
                <a:rPr lang="en-CA" sz="1200" b="1" dirty="0">
                  <a:solidFill>
                    <a:schemeClr val="bg1"/>
                  </a:solidFill>
                </a:rPr>
                <a:t>Source</a:t>
              </a:r>
            </a:p>
          </p:txBody>
        </p:sp>
        <p:cxnSp>
          <p:nvCxnSpPr>
            <p:cNvPr id="15" name="Straight Connector 14"/>
            <p:cNvCxnSpPr/>
            <p:nvPr/>
          </p:nvCxnSpPr>
          <p:spPr>
            <a:xfrm>
              <a:off x="3312464" y="430860"/>
              <a:ext cx="0" cy="50183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noFill/>
            <a:ln>
              <a:noFill/>
            </a:ln>
            <a:effectLst>
              <a:outerShdw blurRad="25400" dist="25400" dir="2700000" algn="tl" rotWithShape="0">
                <a:prstClr val="black">
                  <a:alpha val="15000"/>
                </a:prstClr>
              </a:outerShdw>
            </a:effectLst>
          </p:spPr>
        </p:pic>
        <p:sp>
          <p:nvSpPr>
            <p:cNvPr id="17" name="Text Placeholder 9"/>
            <p:cNvSpPr txBox="1">
              <a:spLocks/>
            </p:cNvSpPr>
            <p:nvPr/>
          </p:nvSpPr>
          <p:spPr>
            <a:xfrm>
              <a:off x="4130813" y="374667"/>
              <a:ext cx="3740952" cy="646330"/>
            </a:xfrm>
            <a:prstGeom prst="rect">
              <a:avLst/>
            </a:prstGeom>
            <a:noFill/>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b="0" i="1" dirty="0"/>
                <a:t>Manufacturing</a:t>
              </a:r>
            </a:p>
            <a:p>
              <a:r>
                <a:rPr lang="en-CA" b="0" i="1" dirty="0"/>
                <a:t>Info-Tech </a:t>
              </a:r>
              <a:r>
                <a:rPr lang="en-CA" b="0" i="1" dirty="0" smtClean="0"/>
                <a:t>Research Group Client </a:t>
              </a:r>
              <a:r>
                <a:rPr lang="en-CA" b="0" i="1" dirty="0"/>
                <a:t>Engagement</a:t>
              </a:r>
            </a:p>
          </p:txBody>
        </p:sp>
      </p:grpSp>
    </p:spTree>
    <p:extLst>
      <p:ext uri="{BB962C8B-B14F-4D97-AF65-F5344CB8AC3E}">
        <p14:creationId xmlns:p14="http://schemas.microsoft.com/office/powerpoint/2010/main" val="13892678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43F54"/>
        </a:solidFill>
        <a:effectLst/>
      </p:bgPr>
    </p:bg>
    <p:spTree>
      <p:nvGrpSpPr>
        <p:cNvPr id="1" name=""/>
        <p:cNvGrpSpPr/>
        <p:nvPr/>
      </p:nvGrpSpPr>
      <p:grpSpPr>
        <a:xfrm>
          <a:off x="0" y="0"/>
          <a:ext cx="0" cy="0"/>
          <a:chOff x="0" y="0"/>
          <a:chExt cx="0" cy="0"/>
        </a:xfrm>
      </p:grpSpPr>
      <p:sp>
        <p:nvSpPr>
          <p:cNvPr id="2" name="TextBox 1"/>
          <p:cNvSpPr txBox="1"/>
          <p:nvPr/>
        </p:nvSpPr>
        <p:spPr>
          <a:xfrm>
            <a:off x="1151134" y="2171784"/>
            <a:ext cx="6589368" cy="3354765"/>
          </a:xfrm>
          <a:prstGeom prst="rect">
            <a:avLst/>
          </a:prstGeom>
        </p:spPr>
        <p:txBody>
          <a:bodyPr wrap="square" rtlCol="0">
            <a:spAutoFit/>
          </a:bodyPr>
          <a:lstStyle/>
          <a:p>
            <a:pPr>
              <a:spcBef>
                <a:spcPts val="600"/>
              </a:spcBef>
              <a:spcAft>
                <a:spcPts val="600"/>
              </a:spcAft>
            </a:pPr>
            <a:r>
              <a:rPr lang="en-US" sz="1600" i="1" dirty="0">
                <a:solidFill>
                  <a:srgbClr val="FFFFFF"/>
                </a:solidFill>
                <a:latin typeface="Georgia"/>
              </a:rPr>
              <a:t>An effective DRP addresses common outages such as hardware and software failures, as well as regional events, to provide day-to-day service continuity. It’s not just insurance you might never cash in.</a:t>
            </a:r>
          </a:p>
          <a:p>
            <a:pPr>
              <a:spcBef>
                <a:spcPts val="600"/>
              </a:spcBef>
              <a:spcAft>
                <a:spcPts val="600"/>
              </a:spcAft>
            </a:pPr>
            <a:r>
              <a:rPr lang="en-US" sz="1600" i="1" dirty="0">
                <a:solidFill>
                  <a:srgbClr val="FFFFFF"/>
                </a:solidFill>
                <a:latin typeface="Georgia"/>
              </a:rPr>
              <a:t>Customers are also demanding evidence of an effective DRP, so organizations without a DRP risk business impact not only from extended outages but also from lost sales.</a:t>
            </a:r>
          </a:p>
          <a:p>
            <a:pPr>
              <a:spcBef>
                <a:spcPts val="600"/>
              </a:spcBef>
              <a:spcAft>
                <a:spcPts val="600"/>
              </a:spcAft>
            </a:pPr>
            <a:r>
              <a:rPr lang="en-US" sz="1600" i="1" dirty="0">
                <a:solidFill>
                  <a:srgbClr val="FFFFFF"/>
                </a:solidFill>
                <a:latin typeface="Georgia"/>
              </a:rPr>
              <a:t>If you are fortunate enough to have executive buy-in, whether it’s due to customer pressure or concern over potential downtime, you still have the challenge of limited time to dedicate to </a:t>
            </a:r>
            <a:r>
              <a:rPr lang="en-US" sz="1600" i="1" dirty="0" smtClean="0">
                <a:solidFill>
                  <a:srgbClr val="FFFFFF"/>
                </a:solidFill>
                <a:latin typeface="Georgia"/>
              </a:rPr>
              <a:t>disaster recovery (DR) </a:t>
            </a:r>
            <a:r>
              <a:rPr lang="en-US" sz="1600" i="1" dirty="0">
                <a:solidFill>
                  <a:srgbClr val="FFFFFF"/>
                </a:solidFill>
                <a:latin typeface="Georgia"/>
              </a:rPr>
              <a:t>planning. Organizations need a </a:t>
            </a:r>
            <a:r>
              <a:rPr lang="en-US" sz="1600" i="1" dirty="0" smtClean="0">
                <a:solidFill>
                  <a:srgbClr val="FFFFFF"/>
                </a:solidFill>
                <a:latin typeface="Georgia"/>
              </a:rPr>
              <a:t>practical </a:t>
            </a:r>
            <a:r>
              <a:rPr lang="en-US" sz="1600" i="1" dirty="0">
                <a:solidFill>
                  <a:srgbClr val="FFFFFF"/>
                </a:solidFill>
                <a:latin typeface="Georgia"/>
              </a:rPr>
              <a:t>but structured approach that enables IT leaders to create a DRP without it becoming their full-time job.</a:t>
            </a:r>
            <a:endParaRPr lang="en-US" sz="1600" b="1" i="1" dirty="0">
              <a:solidFill>
                <a:srgbClr val="FFFFFF"/>
              </a:solidFill>
              <a:latin typeface="Georgia"/>
            </a:endParaRPr>
          </a:p>
        </p:txBody>
      </p:sp>
      <p:sp>
        <p:nvSpPr>
          <p:cNvPr id="3" name="TextBox 2"/>
          <p:cNvSpPr txBox="1"/>
          <p:nvPr/>
        </p:nvSpPr>
        <p:spPr>
          <a:xfrm>
            <a:off x="3203042" y="5424862"/>
            <a:ext cx="4460917" cy="738664"/>
          </a:xfrm>
          <a:prstGeom prst="rect">
            <a:avLst/>
          </a:prstGeom>
        </p:spPr>
        <p:txBody>
          <a:bodyPr wrap="square" rtlCol="0">
            <a:spAutoFit/>
          </a:bodyPr>
          <a:lstStyle/>
          <a:p>
            <a:pPr algn="r"/>
            <a:r>
              <a:rPr lang="en-US" sz="1400" b="1" dirty="0">
                <a:solidFill>
                  <a:srgbClr val="FFFFFF"/>
                </a:solidFill>
              </a:rPr>
              <a:t>Frank Trovato, </a:t>
            </a:r>
          </a:p>
          <a:p>
            <a:pPr algn="r"/>
            <a:r>
              <a:rPr lang="en-US" sz="1400" dirty="0">
                <a:solidFill>
                  <a:srgbClr val="FFFFFF"/>
                </a:solidFill>
              </a:rPr>
              <a:t>Research Director, Infrastructure</a:t>
            </a:r>
            <a:br>
              <a:rPr lang="en-US" sz="1400" dirty="0">
                <a:solidFill>
                  <a:srgbClr val="FFFFFF"/>
                </a:solidFill>
              </a:rPr>
            </a:br>
            <a:r>
              <a:rPr lang="en-US" sz="1400" dirty="0">
                <a:solidFill>
                  <a:srgbClr val="FFFFFF"/>
                </a:solidFill>
              </a:rPr>
              <a:t>Info-Tech Research Group</a:t>
            </a:r>
          </a:p>
        </p:txBody>
      </p:sp>
      <p:sp>
        <p:nvSpPr>
          <p:cNvPr id="4" name="TextBox 3"/>
          <p:cNvSpPr txBox="1"/>
          <p:nvPr/>
        </p:nvSpPr>
        <p:spPr>
          <a:xfrm>
            <a:off x="545852" y="1547709"/>
            <a:ext cx="7194650" cy="338554"/>
          </a:xfrm>
          <a:prstGeom prst="rect">
            <a:avLst/>
          </a:prstGeom>
        </p:spPr>
        <p:txBody>
          <a:bodyPr wrap="square" rtlCol="0">
            <a:spAutoFit/>
          </a:bodyPr>
          <a:lstStyle/>
          <a:p>
            <a:r>
              <a:rPr lang="en-CA" sz="1600" b="1" dirty="0">
                <a:solidFill>
                  <a:schemeClr val="bg1"/>
                </a:solidFill>
              </a:rPr>
              <a:t>An effective </a:t>
            </a:r>
            <a:r>
              <a:rPr lang="en-CA" sz="1600" b="1" dirty="0" smtClean="0">
                <a:solidFill>
                  <a:schemeClr val="bg1"/>
                </a:solidFill>
              </a:rPr>
              <a:t>disaster recovery plan (DRP) is </a:t>
            </a:r>
            <a:r>
              <a:rPr lang="en-CA" sz="1600" b="1" dirty="0">
                <a:solidFill>
                  <a:schemeClr val="bg1"/>
                </a:solidFill>
              </a:rPr>
              <a:t>not just an insurance policy.</a:t>
            </a:r>
          </a:p>
        </p:txBody>
      </p:sp>
      <p:sp>
        <p:nvSpPr>
          <p:cNvPr id="5" name="Rectangle 4"/>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CA" sz="4000" b="1" dirty="0">
                <a:solidFill>
                  <a:schemeClr val="bg1"/>
                </a:solidFill>
              </a:rPr>
              <a:t>ANALYST PERSPECTIVE </a:t>
            </a:r>
          </a:p>
        </p:txBody>
      </p:sp>
      <p:pic>
        <p:nvPicPr>
          <p:cNvPr id="12" name="Picture 108"/>
          <p:cNvPicPr>
            <a:picLocks noChangeAspect="1"/>
          </p:cNvPicPr>
          <p:nvPr/>
        </p:nvPicPr>
        <p:blipFill>
          <a:blip r:embed="rId2"/>
          <a:stretch>
            <a:fillRect/>
          </a:stretch>
        </p:blipFill>
        <p:spPr>
          <a:xfrm>
            <a:off x="545852" y="2011238"/>
            <a:ext cx="693419" cy="501622"/>
          </a:xfrm>
          <a:prstGeom prst="rect">
            <a:avLst/>
          </a:prstGeom>
        </p:spPr>
      </p:pic>
      <p:pic>
        <p:nvPicPr>
          <p:cNvPr id="13" name="Picture 109"/>
          <p:cNvPicPr>
            <a:picLocks noChangeAspect="1"/>
          </p:cNvPicPr>
          <p:nvPr/>
        </p:nvPicPr>
        <p:blipFill>
          <a:blip r:embed="rId3"/>
          <a:stretch>
            <a:fillRect/>
          </a:stretch>
        </p:blipFill>
        <p:spPr>
          <a:xfrm>
            <a:off x="7663959" y="4906483"/>
            <a:ext cx="674751" cy="615711"/>
          </a:xfrm>
          <a:prstGeom prst="rect">
            <a:avLst/>
          </a:prstGeom>
        </p:spPr>
      </p:pic>
    </p:spTree>
    <p:extLst>
      <p:ext uri="{BB962C8B-B14F-4D97-AF65-F5344CB8AC3E}">
        <p14:creationId xmlns:p14="http://schemas.microsoft.com/office/powerpoint/2010/main" val="6314664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these icons to help direct you as you navigate this research </a:t>
            </a:r>
          </a:p>
        </p:txBody>
      </p:sp>
      <p:grpSp>
        <p:nvGrpSpPr>
          <p:cNvPr id="4" name="Group 3"/>
          <p:cNvGrpSpPr/>
          <p:nvPr/>
        </p:nvGrpSpPr>
        <p:grpSpPr>
          <a:xfrm>
            <a:off x="726140" y="3283099"/>
            <a:ext cx="7590771" cy="320040"/>
            <a:chOff x="807719" y="2308678"/>
            <a:chExt cx="7388352" cy="320040"/>
          </a:xfrm>
        </p:grpSpPr>
        <p:sp>
          <p:nvSpPr>
            <p:cNvPr id="10" name="Rectangle 9"/>
            <p:cNvSpPr/>
            <p:nvPr/>
          </p:nvSpPr>
          <p:spPr>
            <a:xfrm>
              <a:off x="807719" y="2308678"/>
              <a:ext cx="7388352" cy="32004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pic>
          <p:nvPicPr>
            <p:cNvPr id="5" name="Picture 4" descr="on-site-workshops.png"/>
            <p:cNvPicPr>
              <a:picLocks noChangeAspect="1"/>
            </p:cNvPicPr>
            <p:nvPr/>
          </p:nvPicPr>
          <p:blipFill rotWithShape="1">
            <a:blip r:embed="rId3" cstate="print"/>
            <a:srcRect l="12204" t="22820" r="8463" b="22257"/>
            <a:stretch/>
          </p:blipFill>
          <p:spPr>
            <a:xfrm>
              <a:off x="861308" y="2374042"/>
              <a:ext cx="276998" cy="197924"/>
            </a:xfrm>
            <a:prstGeom prst="rect">
              <a:avLst/>
            </a:prstGeom>
            <a:effectLst>
              <a:outerShdw blurRad="50800" dist="38100" dir="2700000" algn="tl" rotWithShape="0">
                <a:prstClr val="black">
                  <a:alpha val="40000"/>
                </a:prstClr>
              </a:outerShdw>
            </a:effectLst>
          </p:spPr>
        </p:pic>
      </p:grpSp>
      <p:grpSp>
        <p:nvGrpSpPr>
          <p:cNvPr id="6" name="Group 5"/>
          <p:cNvGrpSpPr/>
          <p:nvPr/>
        </p:nvGrpSpPr>
        <p:grpSpPr>
          <a:xfrm>
            <a:off x="725159" y="1847009"/>
            <a:ext cx="7591753" cy="343307"/>
            <a:chOff x="807719" y="3498849"/>
            <a:chExt cx="7388352" cy="343307"/>
          </a:xfrm>
        </p:grpSpPr>
        <p:sp>
          <p:nvSpPr>
            <p:cNvPr id="12" name="Rectangle 11"/>
            <p:cNvSpPr/>
            <p:nvPr/>
          </p:nvSpPr>
          <p:spPr>
            <a:xfrm>
              <a:off x="807719" y="3511852"/>
              <a:ext cx="7388352"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best-practice-blueprints.png"/>
            <p:cNvPicPr>
              <a:picLocks noChangeAspect="1"/>
            </p:cNvPicPr>
            <p:nvPr/>
          </p:nvPicPr>
          <p:blipFill>
            <a:blip r:embed="rId4" cstate="print"/>
            <a:stretch>
              <a:fillRect/>
            </a:stretch>
          </p:blipFill>
          <p:spPr>
            <a:xfrm>
              <a:off x="828153" y="3498849"/>
              <a:ext cx="343307" cy="343307"/>
            </a:xfrm>
            <a:prstGeom prst="rect">
              <a:avLst/>
            </a:prstGeom>
            <a:noFill/>
            <a:effectLst/>
          </p:spPr>
        </p:pic>
      </p:grpSp>
      <p:sp>
        <p:nvSpPr>
          <p:cNvPr id="18" name="TextBox 17"/>
          <p:cNvSpPr txBox="1"/>
          <p:nvPr/>
        </p:nvSpPr>
        <p:spPr>
          <a:xfrm>
            <a:off x="725160" y="2196046"/>
            <a:ext cx="7470912" cy="738664"/>
          </a:xfrm>
          <a:prstGeom prst="rect">
            <a:avLst/>
          </a:prstGeom>
          <a:noFill/>
        </p:spPr>
        <p:txBody>
          <a:bodyPr wrap="square" rtlCol="0">
            <a:spAutoFit/>
          </a:bodyPr>
          <a:lstStyle/>
          <a:p>
            <a:r>
              <a:rPr lang="en-US" sz="1400" dirty="0"/>
              <a:t>This icon denotes a slide where a supporting Info-Tech tool or template will help you perform the activity or step associated with the slide. Refer to the supporting tool or template to get the best results and proceed to the next step of the project.</a:t>
            </a:r>
          </a:p>
        </p:txBody>
      </p:sp>
      <p:sp>
        <p:nvSpPr>
          <p:cNvPr id="20" name="TextBox 19"/>
          <p:cNvSpPr txBox="1"/>
          <p:nvPr/>
        </p:nvSpPr>
        <p:spPr>
          <a:xfrm>
            <a:off x="725159" y="3608153"/>
            <a:ext cx="7538435" cy="738664"/>
          </a:xfrm>
          <a:prstGeom prst="rect">
            <a:avLst/>
          </a:prstGeom>
          <a:noFill/>
        </p:spPr>
        <p:txBody>
          <a:bodyPr wrap="square" rtlCol="0">
            <a:spAutoFit/>
          </a:bodyPr>
          <a:lstStyle/>
          <a:p>
            <a:r>
              <a:rPr lang="en-US" sz="1400" dirty="0"/>
              <a:t>This icon denotes a slide with an associated activity. The activity can be performed either as part of your project or with the support of Info-Tech team members, who will come onsite to facilitate a workshop for your organization.</a:t>
            </a:r>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US" sz="1400" dirty="0"/>
              <a:t>Use these icons to help guide you through each step of the blueprint and direct you to content related to the recommended activities. </a:t>
            </a:r>
          </a:p>
        </p:txBody>
      </p:sp>
    </p:spTree>
    <p:extLst>
      <p:ext uri="{BB962C8B-B14F-4D97-AF65-F5344CB8AC3E}">
        <p14:creationId xmlns:p14="http://schemas.microsoft.com/office/powerpoint/2010/main" val="42392308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CA" dirty="0"/>
              <a:t>Is this research for </a:t>
            </a:r>
            <a:r>
              <a:rPr lang="en-CA" dirty="0" smtClean="0"/>
              <a:t>you?</a:t>
            </a:r>
            <a:endParaRPr lang="en-CA" dirty="0"/>
          </a:p>
        </p:txBody>
      </p:sp>
      <p:sp>
        <p:nvSpPr>
          <p:cNvPr id="13" name="Text Placeholder 12"/>
          <p:cNvSpPr>
            <a:spLocks noGrp="1"/>
          </p:cNvSpPr>
          <p:nvPr>
            <p:ph type="body" sz="quarter" idx="16"/>
          </p:nvPr>
        </p:nvSpPr>
        <p:spPr/>
        <p:txBody>
          <a:bodyPr/>
          <a:lstStyle/>
          <a:p>
            <a:r>
              <a:rPr lang="en-US" dirty="0"/>
              <a:t>Senior IT management responsible for executing </a:t>
            </a:r>
            <a:r>
              <a:rPr lang="en-US" dirty="0" smtClean="0"/>
              <a:t>DR.</a:t>
            </a:r>
            <a:endParaRPr lang="en-US" dirty="0"/>
          </a:p>
          <a:p>
            <a:r>
              <a:rPr lang="en-US" dirty="0"/>
              <a:t>Organizations seeking to formalize, optimize, or validate an existing </a:t>
            </a:r>
            <a:r>
              <a:rPr lang="en-US" dirty="0" smtClean="0"/>
              <a:t>DRP.</a:t>
            </a:r>
            <a:endParaRPr lang="en-US" dirty="0"/>
          </a:p>
          <a:p>
            <a:r>
              <a:rPr lang="en-US" dirty="0"/>
              <a:t>Business continuity management (BCM) professionals leading DRP development.</a:t>
            </a:r>
          </a:p>
          <a:p>
            <a:pPr marL="0" indent="0">
              <a:buNone/>
            </a:pPr>
            <a:endParaRPr lang="en-US" dirty="0"/>
          </a:p>
        </p:txBody>
      </p:sp>
      <p:sp>
        <p:nvSpPr>
          <p:cNvPr id="14" name="Text Placeholder 13"/>
          <p:cNvSpPr>
            <a:spLocks noGrp="1"/>
          </p:cNvSpPr>
          <p:nvPr>
            <p:ph type="body" sz="quarter" idx="26"/>
          </p:nvPr>
        </p:nvSpPr>
        <p:spPr/>
        <p:txBody>
          <a:bodyPr/>
          <a:lstStyle/>
          <a:p>
            <a:r>
              <a:rPr lang="en-US" dirty="0"/>
              <a:t>Create a </a:t>
            </a:r>
            <a:r>
              <a:rPr lang="en-US" dirty="0" smtClean="0"/>
              <a:t>DRP </a:t>
            </a:r>
            <a:r>
              <a:rPr lang="en-US" dirty="0"/>
              <a:t>that is aligned with business requirements.</a:t>
            </a:r>
          </a:p>
          <a:p>
            <a:r>
              <a:rPr lang="en-US" dirty="0"/>
              <a:t>Prioritize technology enhancements based on DR requirements and risk-impact analysis.</a:t>
            </a:r>
          </a:p>
          <a:p>
            <a:r>
              <a:rPr lang="en-US" dirty="0"/>
              <a:t>Identify and address process and technology gaps that impact DR capabilities and day-to-day service continuity.</a:t>
            </a:r>
          </a:p>
        </p:txBody>
      </p:sp>
      <p:sp>
        <p:nvSpPr>
          <p:cNvPr id="15" name="Text Placeholder 14"/>
          <p:cNvSpPr>
            <a:spLocks noGrp="1"/>
          </p:cNvSpPr>
          <p:nvPr>
            <p:ph type="body" sz="quarter" idx="27"/>
          </p:nvPr>
        </p:nvSpPr>
        <p:spPr/>
        <p:txBody>
          <a:bodyPr/>
          <a:lstStyle/>
          <a:p>
            <a:r>
              <a:rPr lang="en-US" dirty="0"/>
              <a:t>Executives who want to understand the time and resource commitment required for </a:t>
            </a:r>
            <a:r>
              <a:rPr lang="en-US" dirty="0" smtClean="0"/>
              <a:t>DRP.</a:t>
            </a:r>
            <a:endParaRPr lang="en-US" dirty="0"/>
          </a:p>
          <a:p>
            <a:r>
              <a:rPr lang="en-US" dirty="0"/>
              <a:t>Members of </a:t>
            </a:r>
            <a:r>
              <a:rPr lang="en-US" dirty="0" smtClean="0"/>
              <a:t>BCM and </a:t>
            </a:r>
            <a:r>
              <a:rPr lang="en-US" dirty="0"/>
              <a:t>c</a:t>
            </a:r>
            <a:r>
              <a:rPr lang="en-US" dirty="0" smtClean="0"/>
              <a:t>risis </a:t>
            </a:r>
            <a:r>
              <a:rPr lang="en-US" dirty="0"/>
              <a:t>m</a:t>
            </a:r>
            <a:r>
              <a:rPr lang="en-US" dirty="0" smtClean="0"/>
              <a:t>anagement </a:t>
            </a:r>
            <a:r>
              <a:rPr lang="en-US" dirty="0"/>
              <a:t>teams who need to understand the key elements of an IT DRP.</a:t>
            </a:r>
          </a:p>
        </p:txBody>
      </p:sp>
      <p:sp>
        <p:nvSpPr>
          <p:cNvPr id="16" name="Text Placeholder 15"/>
          <p:cNvSpPr>
            <a:spLocks noGrp="1"/>
          </p:cNvSpPr>
          <p:nvPr>
            <p:ph type="body" sz="quarter" idx="28"/>
          </p:nvPr>
        </p:nvSpPr>
        <p:spPr/>
        <p:txBody>
          <a:bodyPr/>
          <a:lstStyle/>
          <a:p>
            <a:r>
              <a:rPr lang="en-US" dirty="0"/>
              <a:t>Scope the time and effort required to develop a DRP.</a:t>
            </a:r>
          </a:p>
          <a:p>
            <a:r>
              <a:rPr lang="en-US" dirty="0"/>
              <a:t>Align business continuity, </a:t>
            </a:r>
            <a:r>
              <a:rPr lang="en-US" dirty="0" smtClean="0"/>
              <a:t>DR, </a:t>
            </a:r>
            <a:r>
              <a:rPr lang="en-US" dirty="0"/>
              <a:t>and crisis management plans.</a:t>
            </a:r>
          </a:p>
        </p:txBody>
      </p:sp>
    </p:spTree>
    <p:extLst>
      <p:ext uri="{BB962C8B-B14F-4D97-AF65-F5344CB8AC3E}">
        <p14:creationId xmlns:p14="http://schemas.microsoft.com/office/powerpoint/2010/main" val="26199002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cutive summary</a:t>
            </a:r>
          </a:p>
        </p:txBody>
      </p:sp>
      <p:sp>
        <p:nvSpPr>
          <p:cNvPr id="3" name="Text Placeholder 2"/>
          <p:cNvSpPr>
            <a:spLocks noGrp="1"/>
          </p:cNvSpPr>
          <p:nvPr>
            <p:ph type="body" sz="quarter" idx="10"/>
          </p:nvPr>
        </p:nvSpPr>
        <p:spPr>
          <a:xfrm>
            <a:off x="247848" y="1535364"/>
            <a:ext cx="5257800" cy="1417386"/>
          </a:xfrm>
        </p:spPr>
        <p:txBody>
          <a:bodyPr/>
          <a:lstStyle/>
          <a:p>
            <a:pPr>
              <a:spcBef>
                <a:spcPts val="600"/>
              </a:spcBef>
            </a:pPr>
            <a:r>
              <a:rPr lang="en-US" dirty="0"/>
              <a:t>Any time a natural disaster or major IT outage occurs, it increases executive awareness and internal pressure to create a DRP. </a:t>
            </a:r>
          </a:p>
          <a:p>
            <a:pPr>
              <a:spcBef>
                <a:spcPts val="600"/>
              </a:spcBef>
            </a:pPr>
            <a:r>
              <a:rPr lang="en-US" dirty="0"/>
              <a:t>Industry standards and government regulations are driving external pressure to develop business continuity and IT DR plans.</a:t>
            </a:r>
          </a:p>
          <a:p>
            <a:pPr>
              <a:spcBef>
                <a:spcPts val="600"/>
              </a:spcBef>
            </a:pPr>
            <a:r>
              <a:rPr lang="en-US" dirty="0"/>
              <a:t>Customers are asking suppliers and partners to provide evidence that they have a workable DRP before agreeing to do business. </a:t>
            </a:r>
          </a:p>
          <a:p>
            <a:endParaRPr lang="en-US" dirty="0"/>
          </a:p>
        </p:txBody>
      </p:sp>
      <p:sp>
        <p:nvSpPr>
          <p:cNvPr id="4" name="Text Placeholder 3"/>
          <p:cNvSpPr>
            <a:spLocks noGrp="1"/>
          </p:cNvSpPr>
          <p:nvPr>
            <p:ph type="body" sz="quarter" idx="11"/>
          </p:nvPr>
        </p:nvSpPr>
        <p:spPr>
          <a:xfrm>
            <a:off x="255868" y="3328511"/>
            <a:ext cx="5257800" cy="1382825"/>
          </a:xfrm>
        </p:spPr>
        <p:txBody>
          <a:bodyPr/>
          <a:lstStyle/>
          <a:p>
            <a:pPr>
              <a:spcBef>
                <a:spcPts val="600"/>
              </a:spcBef>
            </a:pPr>
            <a:r>
              <a:rPr lang="en-US" dirty="0"/>
              <a:t>Traditional DRP templates are onerous and result in a lengthy, dense plan that might satisfy auditors, but will not be effective in a crisis. </a:t>
            </a:r>
          </a:p>
          <a:p>
            <a:pPr>
              <a:spcBef>
                <a:spcPts val="600"/>
              </a:spcBef>
            </a:pPr>
            <a:r>
              <a:rPr lang="en-US" dirty="0"/>
              <a:t>The myth that a DRP is only for major disasters leaves organizations vulnerable to more common incidents.</a:t>
            </a:r>
          </a:p>
          <a:p>
            <a:pPr>
              <a:spcBef>
                <a:spcPts val="600"/>
              </a:spcBef>
            </a:pPr>
            <a:r>
              <a:rPr lang="en-US" dirty="0" smtClean="0"/>
              <a:t>The growing </a:t>
            </a:r>
            <a:r>
              <a:rPr lang="en-US" dirty="0"/>
              <a:t>use of outsourced infrastructure services has increased reliance on vendors to meet recovery timeline objectives.</a:t>
            </a:r>
          </a:p>
          <a:p>
            <a:endParaRPr lang="en-US" dirty="0"/>
          </a:p>
          <a:p>
            <a:endParaRPr lang="en-US" dirty="0"/>
          </a:p>
        </p:txBody>
      </p:sp>
      <p:sp>
        <p:nvSpPr>
          <p:cNvPr id="5" name="Text Placeholder 4"/>
          <p:cNvSpPr>
            <a:spLocks noGrp="1"/>
          </p:cNvSpPr>
          <p:nvPr>
            <p:ph type="body" sz="quarter" idx="12"/>
          </p:nvPr>
        </p:nvSpPr>
        <p:spPr>
          <a:xfrm>
            <a:off x="255868" y="5042263"/>
            <a:ext cx="8623607" cy="1278828"/>
          </a:xfrm>
        </p:spPr>
        <p:txBody>
          <a:bodyPr/>
          <a:lstStyle/>
          <a:p>
            <a:pPr>
              <a:spcBef>
                <a:spcPts val="600"/>
              </a:spcBef>
            </a:pPr>
            <a:r>
              <a:rPr lang="en-US" dirty="0"/>
              <a:t>Create an effective DRP by following a structured process to discover current capabilities and define business requirements for continuity:</a:t>
            </a:r>
          </a:p>
          <a:p>
            <a:pPr lvl="1">
              <a:spcBef>
                <a:spcPts val="600"/>
              </a:spcBef>
            </a:pPr>
            <a:r>
              <a:rPr lang="en-US" dirty="0"/>
              <a:t>Define appropriate objectives for service downtime and data loss based on business impact.</a:t>
            </a:r>
          </a:p>
          <a:p>
            <a:pPr lvl="1">
              <a:spcBef>
                <a:spcPts val="600"/>
              </a:spcBef>
            </a:pPr>
            <a:r>
              <a:rPr lang="en-US" dirty="0"/>
              <a:t>Document an incident response plan that captures all of the steps from event detection to data center recovery.</a:t>
            </a:r>
          </a:p>
          <a:p>
            <a:pPr lvl="1">
              <a:spcBef>
                <a:spcPts val="600"/>
              </a:spcBef>
            </a:pPr>
            <a:r>
              <a:rPr lang="en-US" dirty="0"/>
              <a:t>Create a DR roadmap to close gaps between current DR capabilities and recovery objectives.</a:t>
            </a:r>
          </a:p>
          <a:p>
            <a:pPr marL="0" indent="0">
              <a:buNone/>
            </a:pPr>
            <a:endParaRPr lang="en-US" dirty="0"/>
          </a:p>
          <a:p>
            <a:endParaRPr lang="en-US" dirty="0"/>
          </a:p>
        </p:txBody>
      </p:sp>
      <p:sp>
        <p:nvSpPr>
          <p:cNvPr id="6" name="Text Placeholder 5"/>
          <p:cNvSpPr>
            <a:spLocks noGrp="1"/>
          </p:cNvSpPr>
          <p:nvPr>
            <p:ph type="body" sz="quarter" idx="13"/>
          </p:nvPr>
        </p:nvSpPr>
        <p:spPr>
          <a:xfrm>
            <a:off x="5737241" y="1495997"/>
            <a:ext cx="3083231" cy="2980310"/>
          </a:xfrm>
        </p:spPr>
        <p:txBody>
          <a:bodyPr/>
          <a:lstStyle/>
          <a:p>
            <a:pPr marL="228600" indent="-228600">
              <a:spcBef>
                <a:spcPts val="600"/>
              </a:spcBef>
              <a:spcAft>
                <a:spcPts val="600"/>
              </a:spcAft>
              <a:buSzPct val="100000"/>
              <a:buFont typeface="+mj-lt"/>
              <a:buAutoNum type="arabicPeriod"/>
            </a:pPr>
            <a:r>
              <a:rPr lang="en-US" dirty="0"/>
              <a:t>At its core, </a:t>
            </a:r>
            <a:r>
              <a:rPr lang="en-US" b="1" dirty="0"/>
              <a:t>DR is about ensuring service continuity. </a:t>
            </a:r>
            <a:r>
              <a:rPr lang="en-US" dirty="0"/>
              <a:t>Create a plan that can be leveraged for both isolated and catastrophic events.</a:t>
            </a:r>
          </a:p>
          <a:p>
            <a:pPr marL="228600" indent="-228600">
              <a:spcBef>
                <a:spcPts val="600"/>
              </a:spcBef>
              <a:spcAft>
                <a:spcPts val="600"/>
              </a:spcAft>
              <a:buSzPct val="100000"/>
              <a:buFont typeface="+mj-lt"/>
              <a:buAutoNum type="arabicPeriod"/>
            </a:pPr>
            <a:r>
              <a:rPr lang="en-US" b="1" dirty="0"/>
              <a:t>Remember Murphy’s Law.</a:t>
            </a:r>
            <a:r>
              <a:rPr lang="en-US" dirty="0"/>
              <a:t> Failure happens. Focus on improving overall resiliency and recovery, rather than basing DR on risk probability analysis.</a:t>
            </a:r>
          </a:p>
          <a:p>
            <a:pPr marL="228600" indent="-228600">
              <a:spcBef>
                <a:spcPts val="600"/>
              </a:spcBef>
              <a:spcAft>
                <a:spcPts val="600"/>
              </a:spcAft>
              <a:buSzPct val="100000"/>
              <a:buFont typeface="+mj-lt"/>
              <a:buAutoNum type="arabicPeriod"/>
            </a:pPr>
            <a:r>
              <a:rPr lang="en-US" dirty="0"/>
              <a:t>Cost-effective DR and service continuity starts with </a:t>
            </a:r>
            <a:r>
              <a:rPr lang="en-US" b="1" dirty="0"/>
              <a:t>identifying what is truly mission critical</a:t>
            </a:r>
            <a:r>
              <a:rPr lang="en-US" dirty="0"/>
              <a:t> so you can focus resources accordingly. Not all services require fast failover.</a:t>
            </a:r>
          </a:p>
        </p:txBody>
      </p:sp>
    </p:spTree>
    <p:extLst>
      <p:ext uri="{BB962C8B-B14F-4D97-AF65-F5344CB8AC3E}">
        <p14:creationId xmlns:p14="http://schemas.microsoft.com/office/powerpoint/2010/main" val="619885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An effective DRP is critical to reducing the cost of downtime</a:t>
            </a:r>
            <a:endParaRPr lang="en-CA" dirty="0"/>
          </a:p>
        </p:txBody>
      </p:sp>
      <p:sp>
        <p:nvSpPr>
          <p:cNvPr id="3" name="Text Placeholder 2"/>
          <p:cNvSpPr txBox="1">
            <a:spLocks/>
          </p:cNvSpPr>
          <p:nvPr/>
        </p:nvSpPr>
        <p:spPr bwMode="auto">
          <a:xfrm>
            <a:off x="249236" y="1223572"/>
            <a:ext cx="8628063" cy="485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400" b="1" dirty="0"/>
              <a:t>If you don’t have an effective </a:t>
            </a:r>
            <a:r>
              <a:rPr lang="en-US" sz="1400" b="1" dirty="0" smtClean="0"/>
              <a:t>DRP </a:t>
            </a:r>
            <a:r>
              <a:rPr lang="en-US" sz="1400" b="1" dirty="0"/>
              <a:t>when failure occurs, expect to face extended downtime and exponentially rising costs due to confusion and lack of documented processes. </a:t>
            </a:r>
          </a:p>
        </p:txBody>
      </p:sp>
      <p:grpSp>
        <p:nvGrpSpPr>
          <p:cNvPr id="5" name="Group 4"/>
          <p:cNvGrpSpPr/>
          <p:nvPr/>
        </p:nvGrpSpPr>
        <p:grpSpPr>
          <a:xfrm>
            <a:off x="2953906" y="1857999"/>
            <a:ext cx="5691330" cy="1860084"/>
            <a:chOff x="5357815" y="4617132"/>
            <a:chExt cx="2204387" cy="1860084"/>
          </a:xfrm>
        </p:grpSpPr>
        <p:sp>
          <p:nvSpPr>
            <p:cNvPr id="6" name="Rectangle 5"/>
            <p:cNvSpPr/>
            <p:nvPr/>
          </p:nvSpPr>
          <p:spPr>
            <a:xfrm>
              <a:off x="5357815" y="4942930"/>
              <a:ext cx="2204387" cy="1534286"/>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ts val="600"/>
                </a:spcBef>
                <a:spcAft>
                  <a:spcPts val="600"/>
                </a:spcAft>
              </a:pPr>
              <a:r>
                <a:rPr lang="en-CA" sz="1200" dirty="0">
                  <a:solidFill>
                    <a:srgbClr val="333333"/>
                  </a:solidFill>
                </a:rPr>
                <a:t>The impact of downtime tends to increase exponentially as systems remain unavailable (graph at left). A current, tested DRP will significantly improve your ability to execute systems recovery, minimizing downtime and business impact. </a:t>
              </a:r>
            </a:p>
            <a:p>
              <a:pPr fontAlgn="base">
                <a:spcBef>
                  <a:spcPts val="600"/>
                </a:spcBef>
                <a:spcAft>
                  <a:spcPts val="600"/>
                </a:spcAft>
              </a:pPr>
              <a:r>
                <a:rPr lang="en-CA" sz="1200" dirty="0">
                  <a:solidFill>
                    <a:srgbClr val="333333"/>
                  </a:solidFill>
                </a:rPr>
                <a:t>Without a DRP, IT is gambling on its ability to define and implement a recovery strategy during a time of crisis. At the very least, this means extended downtime – potentially weeks or months – and substantial business impact. </a:t>
              </a:r>
            </a:p>
          </p:txBody>
        </p:sp>
        <p:sp>
          <p:nvSpPr>
            <p:cNvPr id="7" name="Rectangle 6"/>
            <p:cNvSpPr/>
            <p:nvPr/>
          </p:nvSpPr>
          <p:spPr>
            <a:xfrm>
              <a:off x="5357816" y="4617132"/>
              <a:ext cx="2204386" cy="325797"/>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200" b="1" dirty="0">
                  <a:solidFill>
                    <a:srgbClr val="FFFFFF"/>
                  </a:solidFill>
                </a:rPr>
                <a:t>Potential Lost Revenue</a:t>
              </a:r>
            </a:p>
          </p:txBody>
        </p:sp>
      </p:grpSp>
      <p:sp>
        <p:nvSpPr>
          <p:cNvPr id="8" name="TextBox 7"/>
          <p:cNvSpPr txBox="1"/>
          <p:nvPr/>
        </p:nvSpPr>
        <p:spPr>
          <a:xfrm>
            <a:off x="2905313" y="3760466"/>
            <a:ext cx="2615010" cy="246221"/>
          </a:xfrm>
          <a:prstGeom prst="rect">
            <a:avLst/>
          </a:prstGeom>
          <a:noFill/>
        </p:spPr>
        <p:txBody>
          <a:bodyPr wrap="square" rtlCol="0">
            <a:spAutoFit/>
          </a:bodyPr>
          <a:lstStyle/>
          <a:p>
            <a:r>
              <a:rPr lang="en-US" sz="1000" b="1" dirty="0">
                <a:solidFill>
                  <a:srgbClr val="333333"/>
                </a:solidFill>
              </a:rPr>
              <a:t>Adapted from</a:t>
            </a:r>
            <a:r>
              <a:rPr lang="en-US" sz="1000" b="1" dirty="0" smtClean="0">
                <a:solidFill>
                  <a:srgbClr val="333333"/>
                </a:solidFill>
              </a:rPr>
              <a:t>: </a:t>
            </a:r>
            <a:r>
              <a:rPr lang="en-US" sz="1000" dirty="0" smtClean="0">
                <a:solidFill>
                  <a:srgbClr val="333333"/>
                </a:solidFill>
              </a:rPr>
              <a:t>Philip Jan Rothstein, 2007</a:t>
            </a:r>
            <a:r>
              <a:rPr lang="en-US" sz="900" dirty="0" smtClean="0">
                <a:solidFill>
                  <a:srgbClr val="333333"/>
                </a:solidFill>
              </a:rPr>
              <a:t> </a:t>
            </a:r>
            <a:endParaRPr lang="en-US" sz="900" i="1" dirty="0">
              <a:solidFill>
                <a:srgbClr val="333333"/>
              </a:solidFill>
            </a:endParaRPr>
          </a:p>
        </p:txBody>
      </p:sp>
      <p:grpSp>
        <p:nvGrpSpPr>
          <p:cNvPr id="19" name="Group 18"/>
          <p:cNvGrpSpPr/>
          <p:nvPr/>
        </p:nvGrpSpPr>
        <p:grpSpPr>
          <a:xfrm>
            <a:off x="472218" y="1799444"/>
            <a:ext cx="2167917" cy="2204012"/>
            <a:chOff x="387591" y="1828721"/>
            <a:chExt cx="2428026" cy="2329904"/>
          </a:xfrm>
        </p:grpSpPr>
        <p:pic>
          <p:nvPicPr>
            <p:cNvPr id="4" name="Picture 3"/>
            <p:cNvPicPr>
              <a:picLocks noChangeAspect="1"/>
            </p:cNvPicPr>
            <p:nvPr/>
          </p:nvPicPr>
          <p:blipFill>
            <a:blip r:embed="rId2"/>
            <a:stretch>
              <a:fillRect/>
            </a:stretch>
          </p:blipFill>
          <p:spPr>
            <a:xfrm>
              <a:off x="472220" y="1828721"/>
              <a:ext cx="2273216" cy="2329904"/>
            </a:xfrm>
            <a:prstGeom prst="rect">
              <a:avLst/>
            </a:prstGeom>
          </p:spPr>
        </p:pic>
        <p:sp>
          <p:nvSpPr>
            <p:cNvPr id="9" name="TextBox 8"/>
            <p:cNvSpPr txBox="1"/>
            <p:nvPr/>
          </p:nvSpPr>
          <p:spPr>
            <a:xfrm>
              <a:off x="387591" y="3718082"/>
              <a:ext cx="2428026" cy="400110"/>
            </a:xfrm>
            <a:prstGeom prst="rect">
              <a:avLst/>
            </a:prstGeom>
            <a:noFill/>
          </p:spPr>
          <p:txBody>
            <a:bodyPr wrap="square" rtlCol="0">
              <a:spAutoFit/>
            </a:bodyPr>
            <a:lstStyle/>
            <a:p>
              <a:pPr algn="ctr"/>
              <a:r>
                <a:rPr lang="en-US" sz="1000" dirty="0">
                  <a:solidFill>
                    <a:srgbClr val="333333"/>
                  </a:solidFill>
                </a:rPr>
                <a:t>Delay in recovery causes exponential revenue loss </a:t>
              </a:r>
            </a:p>
          </p:txBody>
        </p:sp>
      </p:grpSp>
      <p:sp>
        <p:nvSpPr>
          <p:cNvPr id="10" name="Rectangle 9"/>
          <p:cNvSpPr/>
          <p:nvPr/>
        </p:nvSpPr>
        <p:spPr>
          <a:xfrm>
            <a:off x="472220" y="4202010"/>
            <a:ext cx="4634618" cy="325797"/>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200" b="1" dirty="0">
                <a:solidFill>
                  <a:srgbClr val="FFFFFF"/>
                </a:solidFill>
              </a:rPr>
              <a:t>Cost of Downtime for the Fortune 1000</a:t>
            </a:r>
          </a:p>
        </p:txBody>
      </p:sp>
      <p:sp>
        <p:nvSpPr>
          <p:cNvPr id="13" name="Text Placeholder 12"/>
          <p:cNvSpPr txBox="1">
            <a:spLocks/>
          </p:cNvSpPr>
          <p:nvPr/>
        </p:nvSpPr>
        <p:spPr>
          <a:xfrm>
            <a:off x="5369442" y="4478001"/>
            <a:ext cx="3275794" cy="1781412"/>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0"/>
              </a:spcAft>
              <a:buClr>
                <a:srgbClr val="333333"/>
              </a:buClr>
              <a:buSzPct val="100000"/>
              <a:buFont typeface="Arial" pitchFamily="34" charset="0"/>
              <a:buNone/>
            </a:pPr>
            <a:r>
              <a:rPr lang="en-CA" dirty="0">
                <a:solidFill>
                  <a:srgbClr val="333333"/>
                </a:solidFill>
              </a:rPr>
              <a:t>The cost of downtime is rising across the board, and not just for organizations that traditionally depend on IT (e.g. e-commerce).</a:t>
            </a:r>
          </a:p>
          <a:p>
            <a:pPr marL="0" indent="0">
              <a:spcBef>
                <a:spcPts val="600"/>
              </a:spcBef>
              <a:spcAft>
                <a:spcPts val="600"/>
              </a:spcAft>
              <a:buClr>
                <a:srgbClr val="333333"/>
              </a:buClr>
              <a:buSzPct val="100000"/>
              <a:buFont typeface="Arial" pitchFamily="34" charset="0"/>
              <a:buNone/>
            </a:pPr>
            <a:r>
              <a:rPr lang="en-CA" dirty="0">
                <a:solidFill>
                  <a:srgbClr val="333333"/>
                </a:solidFill>
              </a:rPr>
              <a:t>Downtime cost increase since 2010: </a:t>
            </a:r>
          </a:p>
        </p:txBody>
      </p:sp>
      <p:sp>
        <p:nvSpPr>
          <p:cNvPr id="16" name="Text Placeholder 12"/>
          <p:cNvSpPr txBox="1">
            <a:spLocks/>
          </p:cNvSpPr>
          <p:nvPr/>
        </p:nvSpPr>
        <p:spPr>
          <a:xfrm>
            <a:off x="472219" y="4545437"/>
            <a:ext cx="4634619" cy="1703352"/>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1200"/>
              </a:lnSpc>
              <a:spcBef>
                <a:spcPts val="500"/>
              </a:spcBef>
              <a:spcAft>
                <a:spcPts val="500"/>
              </a:spcAft>
              <a:buClr>
                <a:srgbClr val="333333"/>
              </a:buClr>
              <a:buSzPct val="100000"/>
              <a:buFont typeface="Arial" pitchFamily="34" charset="0"/>
              <a:buNone/>
            </a:pPr>
            <a:r>
              <a:rPr lang="en-US" dirty="0">
                <a:solidFill>
                  <a:srgbClr val="333333"/>
                </a:solidFill>
              </a:rPr>
              <a:t>Cost of unplanned apps downtime per year: </a:t>
            </a:r>
            <a:r>
              <a:rPr lang="en-US" b="1" dirty="0">
                <a:solidFill>
                  <a:srgbClr val="333333"/>
                </a:solidFill>
              </a:rPr>
              <a:t>$1.25B to $</a:t>
            </a:r>
            <a:r>
              <a:rPr lang="en-US" b="1" dirty="0" smtClean="0">
                <a:solidFill>
                  <a:srgbClr val="333333"/>
                </a:solidFill>
              </a:rPr>
              <a:t>2.5B.</a:t>
            </a:r>
            <a:endParaRPr lang="en-US" b="1" dirty="0">
              <a:solidFill>
                <a:srgbClr val="333333"/>
              </a:solidFill>
            </a:endParaRPr>
          </a:p>
          <a:p>
            <a:pPr marL="0" indent="0">
              <a:lnSpc>
                <a:spcPts val="1200"/>
              </a:lnSpc>
              <a:spcBef>
                <a:spcPts val="500"/>
              </a:spcBef>
              <a:spcAft>
                <a:spcPts val="500"/>
              </a:spcAft>
              <a:buClr>
                <a:srgbClr val="333333"/>
              </a:buClr>
              <a:buSzPct val="100000"/>
              <a:buFont typeface="Arial" pitchFamily="34" charset="0"/>
              <a:buNone/>
            </a:pPr>
            <a:r>
              <a:rPr lang="en-US" dirty="0">
                <a:solidFill>
                  <a:srgbClr val="333333"/>
                </a:solidFill>
              </a:rPr>
              <a:t>Cost of critical apps failure per hour: </a:t>
            </a:r>
            <a:r>
              <a:rPr lang="en-US" b="1" dirty="0">
                <a:solidFill>
                  <a:srgbClr val="333333"/>
                </a:solidFill>
              </a:rPr>
              <a:t>$500,000 to $</a:t>
            </a:r>
            <a:r>
              <a:rPr lang="en-US" b="1" dirty="0" smtClean="0">
                <a:solidFill>
                  <a:srgbClr val="333333"/>
                </a:solidFill>
              </a:rPr>
              <a:t>1M.</a:t>
            </a:r>
            <a:endParaRPr lang="en-US" b="1" dirty="0">
              <a:solidFill>
                <a:srgbClr val="333333"/>
              </a:solidFill>
            </a:endParaRPr>
          </a:p>
          <a:p>
            <a:pPr marL="0" indent="0">
              <a:lnSpc>
                <a:spcPts val="1200"/>
              </a:lnSpc>
              <a:spcBef>
                <a:spcPts val="500"/>
              </a:spcBef>
              <a:spcAft>
                <a:spcPts val="500"/>
              </a:spcAft>
              <a:buClr>
                <a:srgbClr val="333333"/>
              </a:buClr>
              <a:buSzPct val="100000"/>
              <a:buFont typeface="Arial" pitchFamily="34" charset="0"/>
              <a:buNone/>
            </a:pPr>
            <a:r>
              <a:rPr lang="en-US" dirty="0">
                <a:solidFill>
                  <a:srgbClr val="333333"/>
                </a:solidFill>
              </a:rPr>
              <a:t>Cost of infrastructure failure per hour: </a:t>
            </a:r>
            <a:r>
              <a:rPr lang="en-US" b="1" dirty="0">
                <a:solidFill>
                  <a:srgbClr val="333333"/>
                </a:solidFill>
              </a:rPr>
              <a:t>$</a:t>
            </a:r>
            <a:r>
              <a:rPr lang="en-US" b="1" dirty="0" smtClean="0">
                <a:solidFill>
                  <a:srgbClr val="333333"/>
                </a:solidFill>
              </a:rPr>
              <a:t>100,000.</a:t>
            </a:r>
            <a:endParaRPr lang="en-US" b="1" dirty="0">
              <a:solidFill>
                <a:srgbClr val="333333"/>
              </a:solidFill>
            </a:endParaRPr>
          </a:p>
          <a:p>
            <a:pPr marL="0" indent="0">
              <a:lnSpc>
                <a:spcPts val="1200"/>
              </a:lnSpc>
              <a:spcBef>
                <a:spcPts val="500"/>
              </a:spcBef>
              <a:spcAft>
                <a:spcPts val="500"/>
              </a:spcAft>
              <a:buClr>
                <a:srgbClr val="333333"/>
              </a:buClr>
              <a:buSzPct val="100000"/>
              <a:buFont typeface="Arial" pitchFamily="34" charset="0"/>
              <a:buNone/>
            </a:pPr>
            <a:r>
              <a:rPr lang="en-US" b="1" dirty="0">
                <a:solidFill>
                  <a:srgbClr val="333333"/>
                </a:solidFill>
              </a:rPr>
              <a:t>35% </a:t>
            </a:r>
            <a:r>
              <a:rPr lang="en-US" dirty="0">
                <a:solidFill>
                  <a:srgbClr val="333333"/>
                </a:solidFill>
              </a:rPr>
              <a:t>reported to have recovered within 12 hours. </a:t>
            </a:r>
          </a:p>
          <a:p>
            <a:pPr marL="0" indent="0">
              <a:lnSpc>
                <a:spcPts val="1200"/>
              </a:lnSpc>
              <a:spcBef>
                <a:spcPts val="500"/>
              </a:spcBef>
              <a:spcAft>
                <a:spcPts val="500"/>
              </a:spcAft>
              <a:buClr>
                <a:srgbClr val="333333"/>
              </a:buClr>
              <a:buSzPct val="100000"/>
              <a:buFont typeface="Arial" pitchFamily="34" charset="0"/>
              <a:buNone/>
            </a:pPr>
            <a:r>
              <a:rPr lang="en-US" b="1" dirty="0">
                <a:solidFill>
                  <a:srgbClr val="333333"/>
                </a:solidFill>
              </a:rPr>
              <a:t>17% </a:t>
            </a:r>
            <a:r>
              <a:rPr lang="en-US" dirty="0">
                <a:solidFill>
                  <a:srgbClr val="333333"/>
                </a:solidFill>
              </a:rPr>
              <a:t>of infrastructure failures took more than 24 hours to recover.</a:t>
            </a:r>
          </a:p>
          <a:p>
            <a:pPr marL="0" indent="0">
              <a:lnSpc>
                <a:spcPts val="1200"/>
              </a:lnSpc>
              <a:spcBef>
                <a:spcPts val="500"/>
              </a:spcBef>
              <a:spcAft>
                <a:spcPts val="500"/>
              </a:spcAft>
              <a:buClr>
                <a:srgbClr val="333333"/>
              </a:buClr>
              <a:buSzPct val="100000"/>
              <a:buFont typeface="Arial" pitchFamily="34" charset="0"/>
              <a:buNone/>
            </a:pPr>
            <a:r>
              <a:rPr lang="en-US" b="1" dirty="0">
                <a:solidFill>
                  <a:srgbClr val="333333"/>
                </a:solidFill>
              </a:rPr>
              <a:t>13% </a:t>
            </a:r>
            <a:r>
              <a:rPr lang="en-US" dirty="0">
                <a:solidFill>
                  <a:srgbClr val="333333"/>
                </a:solidFill>
              </a:rPr>
              <a:t>of application failures took more than 24 hours to recover. </a:t>
            </a:r>
          </a:p>
          <a:p>
            <a:pPr marL="0" indent="0">
              <a:spcBef>
                <a:spcPts val="600"/>
              </a:spcBef>
              <a:spcAft>
                <a:spcPts val="600"/>
              </a:spcAft>
              <a:buClr>
                <a:srgbClr val="333333"/>
              </a:buClr>
              <a:buSzPct val="100000"/>
              <a:buFont typeface="Arial" pitchFamily="34" charset="0"/>
              <a:buNone/>
            </a:pPr>
            <a:endParaRPr lang="en-US" dirty="0">
              <a:solidFill>
                <a:srgbClr val="333333"/>
              </a:solidFill>
            </a:endParaRPr>
          </a:p>
        </p:txBody>
      </p:sp>
      <p:sp>
        <p:nvSpPr>
          <p:cNvPr id="17" name="TextBox 16"/>
          <p:cNvSpPr txBox="1"/>
          <p:nvPr/>
        </p:nvSpPr>
        <p:spPr>
          <a:xfrm>
            <a:off x="386761" y="6283511"/>
            <a:ext cx="1937695" cy="246221"/>
          </a:xfrm>
          <a:prstGeom prst="rect">
            <a:avLst/>
          </a:prstGeom>
          <a:noFill/>
        </p:spPr>
        <p:txBody>
          <a:bodyPr wrap="square" rtlCol="0">
            <a:spAutoFit/>
          </a:bodyPr>
          <a:lstStyle/>
          <a:p>
            <a:r>
              <a:rPr lang="en-US" sz="1000" b="1" dirty="0">
                <a:solidFill>
                  <a:srgbClr val="333333"/>
                </a:solidFill>
              </a:rPr>
              <a:t>Source:</a:t>
            </a:r>
            <a:r>
              <a:rPr lang="en-US" sz="1000" dirty="0">
                <a:solidFill>
                  <a:srgbClr val="333333"/>
                </a:solidFill>
              </a:rPr>
              <a:t> Stephen Elliot</a:t>
            </a:r>
            <a:r>
              <a:rPr lang="en-US" sz="1000" dirty="0" smtClean="0">
                <a:solidFill>
                  <a:srgbClr val="333333"/>
                </a:solidFill>
              </a:rPr>
              <a:t>, 2015 </a:t>
            </a:r>
            <a:endParaRPr lang="en-US" sz="1000" i="1" dirty="0">
              <a:solidFill>
                <a:srgbClr val="333333"/>
              </a:solidFill>
            </a:endParaRPr>
          </a:p>
        </p:txBody>
      </p:sp>
      <p:graphicFrame>
        <p:nvGraphicFramePr>
          <p:cNvPr id="18" name="Table 17"/>
          <p:cNvGraphicFramePr>
            <a:graphicFrameLocks noGrp="1"/>
          </p:cNvGraphicFramePr>
          <p:nvPr>
            <p:extLst>
              <p:ext uri="{D42A27DB-BD31-4B8C-83A1-F6EECF244321}">
                <p14:modId xmlns:p14="http://schemas.microsoft.com/office/powerpoint/2010/main" val="245588919"/>
              </p:ext>
            </p:extLst>
          </p:nvPr>
        </p:nvGraphicFramePr>
        <p:xfrm>
          <a:off x="5437474" y="5376453"/>
          <a:ext cx="2962248" cy="822960"/>
        </p:xfrm>
        <a:graphic>
          <a:graphicData uri="http://schemas.openxmlformats.org/drawingml/2006/table">
            <a:tbl>
              <a:tblPr>
                <a:tableStyleId>{5C22544A-7EE6-4342-B048-85BDC9FD1C3A}</a:tableStyleId>
              </a:tblPr>
              <a:tblGrid>
                <a:gridCol w="1597640">
                  <a:extLst>
                    <a:ext uri="{9D8B030D-6E8A-4147-A177-3AD203B41FA5}">
                      <a16:colId xmlns="" xmlns:a16="http://schemas.microsoft.com/office/drawing/2014/main" val="20000"/>
                    </a:ext>
                  </a:extLst>
                </a:gridCol>
                <a:gridCol w="1364608">
                  <a:extLst>
                    <a:ext uri="{9D8B030D-6E8A-4147-A177-3AD203B41FA5}">
                      <a16:colId xmlns="" xmlns:a16="http://schemas.microsoft.com/office/drawing/2014/main" val="20001"/>
                    </a:ext>
                  </a:extLst>
                </a:gridCol>
              </a:tblGrid>
              <a:tr h="252000">
                <a:tc>
                  <a:txBody>
                    <a:bodyPr/>
                    <a:lstStyle/>
                    <a:p>
                      <a:r>
                        <a:rPr lang="en-CA" sz="1200" dirty="0">
                          <a:solidFill>
                            <a:srgbClr val="333333"/>
                          </a:solidFill>
                        </a:rPr>
                        <a:t>Hospitality</a:t>
                      </a:r>
                      <a:endParaRPr lang="en-US"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CA" sz="1200" dirty="0">
                          <a:solidFill>
                            <a:srgbClr val="333333"/>
                          </a:solidFill>
                        </a:rPr>
                        <a:t>129% increa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252000">
                <a:tc>
                  <a:txBody>
                    <a:bodyPr/>
                    <a:lstStyle/>
                    <a:p>
                      <a:r>
                        <a:rPr lang="en-CA" sz="1200" dirty="0">
                          <a:solidFill>
                            <a:srgbClr val="333333"/>
                          </a:solidFill>
                        </a:rPr>
                        <a:t>Transportation</a:t>
                      </a:r>
                      <a:endParaRPr lang="en-US"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CA" sz="1200" dirty="0">
                          <a:solidFill>
                            <a:srgbClr val="333333"/>
                          </a:solidFill>
                        </a:rPr>
                        <a:t>108% increa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252000">
                <a:tc>
                  <a:txBody>
                    <a:bodyPr/>
                    <a:lstStyle/>
                    <a:p>
                      <a:r>
                        <a:rPr lang="en-CA" sz="1200" dirty="0">
                          <a:solidFill>
                            <a:srgbClr val="333333"/>
                          </a:solidFill>
                        </a:rPr>
                        <a:t>Media organizations </a:t>
                      </a:r>
                      <a:endParaRPr lang="en-US"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CA" sz="1200" dirty="0">
                          <a:solidFill>
                            <a:srgbClr val="333333"/>
                          </a:solidFill>
                        </a:rPr>
                        <a:t>104% increase</a:t>
                      </a:r>
                      <a:endParaRPr lang="en-US"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bl>
          </a:graphicData>
        </a:graphic>
      </p:graphicFrame>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60896" y="4206980"/>
            <a:ext cx="3096774" cy="286513"/>
          </a:xfrm>
          <a:prstGeom prst="rect">
            <a:avLst/>
          </a:prstGeom>
        </p:spPr>
      </p:pic>
    </p:spTree>
    <p:extLst>
      <p:ext uri="{BB962C8B-B14F-4D97-AF65-F5344CB8AC3E}">
        <p14:creationId xmlns:p14="http://schemas.microsoft.com/office/powerpoint/2010/main" val="33611394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F6C0BC0-5256-4960-BE86-1F41D6E3985B}"/>
              </a:ext>
            </a:extLst>
          </p:cNvPr>
          <p:cNvSpPr>
            <a:spLocks noGrp="1"/>
          </p:cNvSpPr>
          <p:nvPr>
            <p:ph type="title"/>
          </p:nvPr>
        </p:nvSpPr>
        <p:spPr/>
        <p:txBody>
          <a:bodyPr/>
          <a:lstStyle/>
          <a:p>
            <a:r>
              <a:rPr lang="en-CA" dirty="0" smtClean="0"/>
              <a:t>An effective DRP also sets </a:t>
            </a:r>
            <a:r>
              <a:rPr lang="en-CA" dirty="0"/>
              <a:t>clear recovery objectives that align with system </a:t>
            </a:r>
            <a:r>
              <a:rPr lang="en-CA" dirty="0" smtClean="0"/>
              <a:t>criticality to optimize spend</a:t>
            </a:r>
            <a:endParaRPr lang="en-CA" dirty="0"/>
          </a:p>
        </p:txBody>
      </p:sp>
      <p:sp>
        <p:nvSpPr>
          <p:cNvPr id="4" name="Rectangle 3">
            <a:extLst>
              <a:ext uri="{FF2B5EF4-FFF2-40B4-BE49-F238E27FC236}">
                <a16:creationId xmlns="" xmlns:a16="http://schemas.microsoft.com/office/drawing/2014/main" id="{8C6BE51F-B03E-4768-92F1-0F53DFFD2855}"/>
              </a:ext>
            </a:extLst>
          </p:cNvPr>
          <p:cNvSpPr/>
          <p:nvPr/>
        </p:nvSpPr>
        <p:spPr>
          <a:xfrm rot="20416186">
            <a:off x="2080500" y="1915798"/>
            <a:ext cx="1096259" cy="338554"/>
          </a:xfrm>
          <a:prstGeom prst="rect">
            <a:avLst/>
          </a:prstGeom>
          <a:ln w="28575">
            <a:noFill/>
          </a:ln>
        </p:spPr>
        <p:txBody>
          <a:bodyPr wrap="square">
            <a:spAutoFit/>
          </a:bodyPr>
          <a:lstStyle/>
          <a:p>
            <a:pPr algn="r"/>
            <a:r>
              <a:rPr lang="en-CA" sz="1600" b="1" dirty="0">
                <a:solidFill>
                  <a:srgbClr val="333333"/>
                </a:solidFill>
              </a:rPr>
              <a:t>Disaster</a:t>
            </a:r>
            <a:endParaRPr lang="en-CA" sz="1600" b="1" dirty="0"/>
          </a:p>
        </p:txBody>
      </p:sp>
      <p:sp>
        <p:nvSpPr>
          <p:cNvPr id="5" name="Rectangle 4">
            <a:extLst>
              <a:ext uri="{FF2B5EF4-FFF2-40B4-BE49-F238E27FC236}">
                <a16:creationId xmlns="" xmlns:a16="http://schemas.microsoft.com/office/drawing/2014/main" id="{065A11A4-EF72-49FF-BDE1-8F1CF9374F93}"/>
              </a:ext>
            </a:extLst>
          </p:cNvPr>
          <p:cNvSpPr/>
          <p:nvPr/>
        </p:nvSpPr>
        <p:spPr>
          <a:xfrm>
            <a:off x="1960832" y="2353613"/>
            <a:ext cx="149514" cy="3982926"/>
          </a:xfrm>
          <a:prstGeom prst="rect">
            <a:avLst/>
          </a:prstGeom>
          <a:solidFill>
            <a:srgbClr val="FF00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CA" dirty="0"/>
          </a:p>
        </p:txBody>
      </p:sp>
      <p:cxnSp>
        <p:nvCxnSpPr>
          <p:cNvPr id="7" name="Straight Connector 6">
            <a:extLst>
              <a:ext uri="{FF2B5EF4-FFF2-40B4-BE49-F238E27FC236}">
                <a16:creationId xmlns="" xmlns:a16="http://schemas.microsoft.com/office/drawing/2014/main" id="{C98EAD8B-6F5B-4017-B855-8C16FD573BDC}"/>
              </a:ext>
            </a:extLst>
          </p:cNvPr>
          <p:cNvCxnSpPr/>
          <p:nvPr/>
        </p:nvCxnSpPr>
        <p:spPr>
          <a:xfrm>
            <a:off x="310409" y="2467221"/>
            <a:ext cx="1730757"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 xmlns:a16="http://schemas.microsoft.com/office/drawing/2014/main" id="{4BBCFCBD-838B-478A-8805-A6AF3BD47F1D}"/>
              </a:ext>
            </a:extLst>
          </p:cNvPr>
          <p:cNvCxnSpPr/>
          <p:nvPr/>
        </p:nvCxnSpPr>
        <p:spPr>
          <a:xfrm rot="5400000">
            <a:off x="725387" y="3625944"/>
            <a:ext cx="2618855"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 xmlns:a16="http://schemas.microsoft.com/office/drawing/2014/main" id="{A1FF346C-8052-43F3-A0BE-46CC089D567F}"/>
              </a:ext>
            </a:extLst>
          </p:cNvPr>
          <p:cNvCxnSpPr/>
          <p:nvPr/>
        </p:nvCxnSpPr>
        <p:spPr>
          <a:xfrm rot="10800000">
            <a:off x="2024519" y="4964029"/>
            <a:ext cx="2534002"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 xmlns:a16="http://schemas.microsoft.com/office/drawing/2014/main" id="{4DE94A1F-9281-4190-BC28-CF821CC94CC1}"/>
              </a:ext>
            </a:extLst>
          </p:cNvPr>
          <p:cNvCxnSpPr/>
          <p:nvPr/>
        </p:nvCxnSpPr>
        <p:spPr>
          <a:xfrm rot="5400000">
            <a:off x="3744530" y="4167538"/>
            <a:ext cx="1626105"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 xmlns:a16="http://schemas.microsoft.com/office/drawing/2014/main" id="{F8390E2E-CE67-444A-844F-1C7390573D4B}"/>
              </a:ext>
            </a:extLst>
          </p:cNvPr>
          <p:cNvCxnSpPr/>
          <p:nvPr/>
        </p:nvCxnSpPr>
        <p:spPr>
          <a:xfrm rot="10800000">
            <a:off x="4540423" y="3354485"/>
            <a:ext cx="1368000"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 xmlns:a16="http://schemas.microsoft.com/office/drawing/2014/main" id="{923296C3-5292-4584-A0F2-DCCD9EE824D9}"/>
              </a:ext>
            </a:extLst>
          </p:cNvPr>
          <p:cNvCxnSpPr/>
          <p:nvPr/>
        </p:nvCxnSpPr>
        <p:spPr>
          <a:xfrm rot="5400000">
            <a:off x="7191617" y="2697159"/>
            <a:ext cx="292470"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6BA3FD04-B1CE-46D6-809B-C872F2A0D40F}"/>
              </a:ext>
            </a:extLst>
          </p:cNvPr>
          <p:cNvCxnSpPr/>
          <p:nvPr/>
        </p:nvCxnSpPr>
        <p:spPr>
          <a:xfrm rot="5400000">
            <a:off x="5635675" y="3102458"/>
            <a:ext cx="518127"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 xmlns:a16="http://schemas.microsoft.com/office/drawing/2014/main" id="{56308BCB-CF7C-4B31-A8E3-7A4C6718F5E0}"/>
              </a:ext>
            </a:extLst>
          </p:cNvPr>
          <p:cNvCxnSpPr/>
          <p:nvPr/>
        </p:nvCxnSpPr>
        <p:spPr>
          <a:xfrm rot="10800000">
            <a:off x="5905788" y="2843394"/>
            <a:ext cx="1430377"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 xmlns:a16="http://schemas.microsoft.com/office/drawing/2014/main" id="{D5C2D66A-8CBC-4191-B0F4-70A2009A4105}"/>
              </a:ext>
            </a:extLst>
          </p:cNvPr>
          <p:cNvCxnSpPr/>
          <p:nvPr/>
        </p:nvCxnSpPr>
        <p:spPr>
          <a:xfrm rot="10800000">
            <a:off x="7329614" y="2557961"/>
            <a:ext cx="1074664"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 xmlns:a16="http://schemas.microsoft.com/office/drawing/2014/main" id="{B7FBD949-B364-4C0B-AB91-93D7B17602D5}"/>
              </a:ext>
            </a:extLst>
          </p:cNvPr>
          <p:cNvCxnSpPr/>
          <p:nvPr/>
        </p:nvCxnSpPr>
        <p:spPr>
          <a:xfrm rot="5400000">
            <a:off x="8340506" y="2505710"/>
            <a:ext cx="112759"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 xmlns:a16="http://schemas.microsoft.com/office/drawing/2014/main" id="{44D4C72C-F15F-4782-9AF9-DEFEE960EBE9}"/>
              </a:ext>
            </a:extLst>
          </p:cNvPr>
          <p:cNvCxnSpPr/>
          <p:nvPr/>
        </p:nvCxnSpPr>
        <p:spPr>
          <a:xfrm rot="10800000">
            <a:off x="8391225" y="2455213"/>
            <a:ext cx="455763" cy="0"/>
          </a:xfrm>
          <a:prstGeom prst="line">
            <a:avLst/>
          </a:prstGeom>
          <a:ln w="28575">
            <a:solidFill>
              <a:srgbClr val="0070C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 xmlns:a16="http://schemas.microsoft.com/office/drawing/2014/main" id="{EA090894-DEE6-4A80-A136-DDB9BAC51FDF}"/>
              </a:ext>
            </a:extLst>
          </p:cNvPr>
          <p:cNvCxnSpPr/>
          <p:nvPr/>
        </p:nvCxnSpPr>
        <p:spPr>
          <a:xfrm rot="5400000">
            <a:off x="-1506669" y="3977157"/>
            <a:ext cx="4057940" cy="0"/>
          </a:xfrm>
          <a:prstGeom prst="line">
            <a:avLst/>
          </a:prstGeom>
          <a:ln w="1905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 xmlns:a16="http://schemas.microsoft.com/office/drawing/2014/main" id="{C01C72D6-1A5C-4F81-B543-8A224D021190}"/>
              </a:ext>
            </a:extLst>
          </p:cNvPr>
          <p:cNvCxnSpPr>
            <a:cxnSpLocks/>
          </p:cNvCxnSpPr>
          <p:nvPr/>
        </p:nvCxnSpPr>
        <p:spPr>
          <a:xfrm rot="10800000">
            <a:off x="-2704" y="6028987"/>
            <a:ext cx="9155827" cy="0"/>
          </a:xfrm>
          <a:prstGeom prst="line">
            <a:avLst/>
          </a:prstGeom>
          <a:ln w="28575">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Explosion 2 23">
            <a:extLst>
              <a:ext uri="{FF2B5EF4-FFF2-40B4-BE49-F238E27FC236}">
                <a16:creationId xmlns="" xmlns:a16="http://schemas.microsoft.com/office/drawing/2014/main" id="{C92B59F2-F2A6-49E8-94EE-21A0C4DC523F}"/>
              </a:ext>
            </a:extLst>
          </p:cNvPr>
          <p:cNvSpPr/>
          <p:nvPr/>
        </p:nvSpPr>
        <p:spPr>
          <a:xfrm>
            <a:off x="1769612" y="2116383"/>
            <a:ext cx="546520" cy="625164"/>
          </a:xfrm>
          <a:prstGeom prst="irregularSeal2">
            <a:avLst/>
          </a:prstGeom>
          <a:solidFill>
            <a:schemeClr val="accent2"/>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CA" dirty="0"/>
          </a:p>
        </p:txBody>
      </p:sp>
      <p:cxnSp>
        <p:nvCxnSpPr>
          <p:cNvPr id="21" name="Straight Connector 20">
            <a:extLst>
              <a:ext uri="{FF2B5EF4-FFF2-40B4-BE49-F238E27FC236}">
                <a16:creationId xmlns="" xmlns:a16="http://schemas.microsoft.com/office/drawing/2014/main" id="{B673B9CE-748B-4D2E-916D-45260C32A0E1}"/>
              </a:ext>
            </a:extLst>
          </p:cNvPr>
          <p:cNvCxnSpPr/>
          <p:nvPr/>
        </p:nvCxnSpPr>
        <p:spPr>
          <a:xfrm flipH="1">
            <a:off x="2174552" y="5563427"/>
            <a:ext cx="6223912" cy="0"/>
          </a:xfrm>
          <a:prstGeom prst="line">
            <a:avLst/>
          </a:prstGeom>
          <a:ln w="28575">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B5DD4EF-8B81-4E5C-BEF2-B13B39E2B945}"/>
              </a:ext>
            </a:extLst>
          </p:cNvPr>
          <p:cNvCxnSpPr/>
          <p:nvPr/>
        </p:nvCxnSpPr>
        <p:spPr>
          <a:xfrm rot="5400000">
            <a:off x="2518964" y="3977824"/>
            <a:ext cx="4057940" cy="0"/>
          </a:xfrm>
          <a:prstGeom prst="line">
            <a:avLst/>
          </a:prstGeom>
          <a:ln w="1905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 xmlns:a16="http://schemas.microsoft.com/office/drawing/2014/main" id="{5E258F0C-02CC-43F4-B6F7-060A82E3EC29}"/>
              </a:ext>
            </a:extLst>
          </p:cNvPr>
          <p:cNvCxnSpPr/>
          <p:nvPr/>
        </p:nvCxnSpPr>
        <p:spPr>
          <a:xfrm rot="5400000">
            <a:off x="3866648" y="3971581"/>
            <a:ext cx="4057940" cy="0"/>
          </a:xfrm>
          <a:prstGeom prst="line">
            <a:avLst/>
          </a:prstGeom>
          <a:ln w="1905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 xmlns:a16="http://schemas.microsoft.com/office/drawing/2014/main" id="{79F4384B-FD76-4D79-A95E-02E4A86D965E}"/>
              </a:ext>
            </a:extLst>
          </p:cNvPr>
          <p:cNvCxnSpPr/>
          <p:nvPr/>
        </p:nvCxnSpPr>
        <p:spPr>
          <a:xfrm rot="5400000">
            <a:off x="5303783" y="3988057"/>
            <a:ext cx="4057940" cy="0"/>
          </a:xfrm>
          <a:prstGeom prst="line">
            <a:avLst/>
          </a:prstGeom>
          <a:ln w="1905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 xmlns:a16="http://schemas.microsoft.com/office/drawing/2014/main" id="{30A6B4F1-C936-4263-85D3-5C6612BDCDD1}"/>
              </a:ext>
            </a:extLst>
          </p:cNvPr>
          <p:cNvCxnSpPr/>
          <p:nvPr/>
        </p:nvCxnSpPr>
        <p:spPr>
          <a:xfrm rot="5400000">
            <a:off x="6360066" y="3971582"/>
            <a:ext cx="4057940" cy="0"/>
          </a:xfrm>
          <a:prstGeom prst="line">
            <a:avLst/>
          </a:prstGeom>
          <a:ln w="1905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 xmlns:a16="http://schemas.microsoft.com/office/drawing/2014/main" id="{5EC8875C-3E1E-4461-8D37-C70995A0862A}"/>
              </a:ext>
            </a:extLst>
          </p:cNvPr>
          <p:cNvSpPr/>
          <p:nvPr/>
        </p:nvSpPr>
        <p:spPr>
          <a:xfrm>
            <a:off x="742103" y="5950839"/>
            <a:ext cx="575542" cy="307777"/>
          </a:xfrm>
          <a:prstGeom prst="rect">
            <a:avLst/>
          </a:prstGeom>
          <a:solidFill>
            <a:schemeClr val="bg1"/>
          </a:solidFill>
          <a:ln w="12700">
            <a:solidFill>
              <a:schemeClr val="accent1"/>
            </a:solidFill>
          </a:ln>
        </p:spPr>
        <p:txBody>
          <a:bodyPr wrap="none">
            <a:spAutoFit/>
          </a:bodyPr>
          <a:lstStyle/>
          <a:p>
            <a:r>
              <a:rPr lang="en-CA" sz="1400" dirty="0">
                <a:solidFill>
                  <a:srgbClr val="333333"/>
                </a:solidFill>
              </a:rPr>
              <a:t>Time</a:t>
            </a:r>
            <a:endParaRPr lang="en-CA" sz="1400" dirty="0"/>
          </a:p>
        </p:txBody>
      </p:sp>
      <p:cxnSp>
        <p:nvCxnSpPr>
          <p:cNvPr id="27" name="Straight Connector 26">
            <a:extLst>
              <a:ext uri="{FF2B5EF4-FFF2-40B4-BE49-F238E27FC236}">
                <a16:creationId xmlns="" xmlns:a16="http://schemas.microsoft.com/office/drawing/2014/main" id="{B07BB4FA-A933-49B4-B732-B5FCC9480C2C}"/>
              </a:ext>
            </a:extLst>
          </p:cNvPr>
          <p:cNvCxnSpPr/>
          <p:nvPr/>
        </p:nvCxnSpPr>
        <p:spPr>
          <a:xfrm>
            <a:off x="518216" y="5563427"/>
            <a:ext cx="1422826" cy="0"/>
          </a:xfrm>
          <a:prstGeom prst="line">
            <a:avLst/>
          </a:prstGeom>
          <a:ln w="28575">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 xmlns:a16="http://schemas.microsoft.com/office/drawing/2014/main" id="{BC6CA0C1-3515-4CA9-8618-CB703046046E}"/>
              </a:ext>
            </a:extLst>
          </p:cNvPr>
          <p:cNvSpPr/>
          <p:nvPr/>
        </p:nvSpPr>
        <p:spPr>
          <a:xfrm>
            <a:off x="1883298" y="5423363"/>
            <a:ext cx="281149" cy="280800"/>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CA" dirty="0"/>
          </a:p>
        </p:txBody>
      </p:sp>
      <p:sp>
        <p:nvSpPr>
          <p:cNvPr id="29" name="Rectangle 28">
            <a:extLst>
              <a:ext uri="{FF2B5EF4-FFF2-40B4-BE49-F238E27FC236}">
                <a16:creationId xmlns="" xmlns:a16="http://schemas.microsoft.com/office/drawing/2014/main" id="{B7071D93-174B-4E45-8EA5-D0319652E019}"/>
              </a:ext>
            </a:extLst>
          </p:cNvPr>
          <p:cNvSpPr/>
          <p:nvPr/>
        </p:nvSpPr>
        <p:spPr>
          <a:xfrm rot="20287521">
            <a:off x="431829" y="1470195"/>
            <a:ext cx="1201567" cy="415498"/>
          </a:xfrm>
          <a:prstGeom prst="rect">
            <a:avLst/>
          </a:prstGeom>
          <a:ln w="28575">
            <a:noFill/>
          </a:ln>
        </p:spPr>
        <p:txBody>
          <a:bodyPr wrap="square">
            <a:spAutoFit/>
          </a:bodyPr>
          <a:lstStyle/>
          <a:p>
            <a:r>
              <a:rPr lang="en-CA" sz="1050" dirty="0">
                <a:solidFill>
                  <a:srgbClr val="333333"/>
                </a:solidFill>
              </a:rPr>
              <a:t>Last Consistent Backup Taken</a:t>
            </a:r>
            <a:endParaRPr lang="en-CA" sz="1050" dirty="0"/>
          </a:p>
        </p:txBody>
      </p:sp>
      <p:sp>
        <p:nvSpPr>
          <p:cNvPr id="30" name="Rectangle 29">
            <a:extLst>
              <a:ext uri="{FF2B5EF4-FFF2-40B4-BE49-F238E27FC236}">
                <a16:creationId xmlns="" xmlns:a16="http://schemas.microsoft.com/office/drawing/2014/main" id="{67EA0F5F-9BE5-4341-9DAD-9E970285AAB4}"/>
              </a:ext>
            </a:extLst>
          </p:cNvPr>
          <p:cNvSpPr/>
          <p:nvPr/>
        </p:nvSpPr>
        <p:spPr>
          <a:xfrm rot="20287521">
            <a:off x="4501972" y="1544507"/>
            <a:ext cx="1482139" cy="253916"/>
          </a:xfrm>
          <a:prstGeom prst="rect">
            <a:avLst/>
          </a:prstGeom>
          <a:ln w="28575">
            <a:noFill/>
          </a:ln>
        </p:spPr>
        <p:txBody>
          <a:bodyPr wrap="square">
            <a:spAutoFit/>
          </a:bodyPr>
          <a:lstStyle/>
          <a:p>
            <a:r>
              <a:rPr lang="en-CA" sz="1050" dirty="0">
                <a:solidFill>
                  <a:srgbClr val="333333"/>
                </a:solidFill>
              </a:rPr>
              <a:t>Objective: Tier 0</a:t>
            </a:r>
            <a:endParaRPr lang="en-CA" sz="1050" dirty="0"/>
          </a:p>
        </p:txBody>
      </p:sp>
      <p:sp>
        <p:nvSpPr>
          <p:cNvPr id="31" name="Rectangle 30">
            <a:extLst>
              <a:ext uri="{FF2B5EF4-FFF2-40B4-BE49-F238E27FC236}">
                <a16:creationId xmlns="" xmlns:a16="http://schemas.microsoft.com/office/drawing/2014/main" id="{679CC6A4-C823-421F-A9D6-6BC0D9BB0496}"/>
              </a:ext>
            </a:extLst>
          </p:cNvPr>
          <p:cNvSpPr/>
          <p:nvPr/>
        </p:nvSpPr>
        <p:spPr>
          <a:xfrm rot="20287521">
            <a:off x="5774279" y="1507664"/>
            <a:ext cx="1607274" cy="253916"/>
          </a:xfrm>
          <a:prstGeom prst="rect">
            <a:avLst/>
          </a:prstGeom>
          <a:ln w="28575">
            <a:noFill/>
          </a:ln>
        </p:spPr>
        <p:txBody>
          <a:bodyPr wrap="square">
            <a:spAutoFit/>
          </a:bodyPr>
          <a:lstStyle/>
          <a:p>
            <a:r>
              <a:rPr lang="en-CA" sz="1050" dirty="0">
                <a:solidFill>
                  <a:srgbClr val="333333"/>
                </a:solidFill>
              </a:rPr>
              <a:t>Objective: Tier 1</a:t>
            </a:r>
            <a:endParaRPr lang="en-CA" sz="1050" dirty="0"/>
          </a:p>
        </p:txBody>
      </p:sp>
      <p:sp>
        <p:nvSpPr>
          <p:cNvPr id="32" name="Rectangle 31">
            <a:extLst>
              <a:ext uri="{FF2B5EF4-FFF2-40B4-BE49-F238E27FC236}">
                <a16:creationId xmlns="" xmlns:a16="http://schemas.microsoft.com/office/drawing/2014/main" id="{70FDDF20-9ABC-447D-B51F-C1DBD91BD55A}"/>
              </a:ext>
            </a:extLst>
          </p:cNvPr>
          <p:cNvSpPr/>
          <p:nvPr/>
        </p:nvSpPr>
        <p:spPr>
          <a:xfrm rot="20287521">
            <a:off x="7163246" y="1532747"/>
            <a:ext cx="1228264" cy="253916"/>
          </a:xfrm>
          <a:prstGeom prst="rect">
            <a:avLst/>
          </a:prstGeom>
          <a:ln w="28575">
            <a:noFill/>
          </a:ln>
        </p:spPr>
        <p:txBody>
          <a:bodyPr wrap="square">
            <a:spAutoFit/>
          </a:bodyPr>
          <a:lstStyle/>
          <a:p>
            <a:r>
              <a:rPr lang="en-CA" sz="1050" dirty="0">
                <a:solidFill>
                  <a:srgbClr val="333333"/>
                </a:solidFill>
              </a:rPr>
              <a:t>Objective: Tier 2</a:t>
            </a:r>
            <a:endParaRPr lang="en-CA" sz="1050" dirty="0"/>
          </a:p>
        </p:txBody>
      </p:sp>
      <p:sp>
        <p:nvSpPr>
          <p:cNvPr id="33" name="Rectangle 32">
            <a:extLst>
              <a:ext uri="{FF2B5EF4-FFF2-40B4-BE49-F238E27FC236}">
                <a16:creationId xmlns="" xmlns:a16="http://schemas.microsoft.com/office/drawing/2014/main" id="{94F30065-AB05-4EC9-8B6A-08BBBD782294}"/>
              </a:ext>
            </a:extLst>
          </p:cNvPr>
          <p:cNvSpPr/>
          <p:nvPr/>
        </p:nvSpPr>
        <p:spPr>
          <a:xfrm rot="20287521">
            <a:off x="7904710" y="1595615"/>
            <a:ext cx="1159094" cy="253916"/>
          </a:xfrm>
          <a:prstGeom prst="rect">
            <a:avLst/>
          </a:prstGeom>
          <a:ln w="28575">
            <a:noFill/>
          </a:ln>
        </p:spPr>
        <p:txBody>
          <a:bodyPr wrap="square">
            <a:spAutoFit/>
          </a:bodyPr>
          <a:lstStyle/>
          <a:p>
            <a:r>
              <a:rPr lang="en-CA" sz="1050" dirty="0">
                <a:solidFill>
                  <a:srgbClr val="333333"/>
                </a:solidFill>
              </a:rPr>
              <a:t>Objective: Tier 3</a:t>
            </a:r>
            <a:endParaRPr lang="en-CA" sz="1050" dirty="0"/>
          </a:p>
        </p:txBody>
      </p:sp>
      <p:sp>
        <p:nvSpPr>
          <p:cNvPr id="34" name="Rectangle 33">
            <a:extLst>
              <a:ext uri="{FF2B5EF4-FFF2-40B4-BE49-F238E27FC236}">
                <a16:creationId xmlns="" xmlns:a16="http://schemas.microsoft.com/office/drawing/2014/main" id="{D4D7A76A-9019-4298-89D6-98D663D09AA9}"/>
              </a:ext>
            </a:extLst>
          </p:cNvPr>
          <p:cNvSpPr/>
          <p:nvPr/>
        </p:nvSpPr>
        <p:spPr>
          <a:xfrm>
            <a:off x="619213" y="5267290"/>
            <a:ext cx="1259810" cy="469359"/>
          </a:xfrm>
          <a:prstGeom prst="rect">
            <a:avLst/>
          </a:prstGeom>
          <a:solidFill>
            <a:schemeClr val="bg1"/>
          </a:solidFill>
          <a:ln w="12700">
            <a:solidFill>
              <a:srgbClr val="333333"/>
            </a:solidFill>
          </a:ln>
        </p:spPr>
        <p:txBody>
          <a:bodyPr wrap="square">
            <a:spAutoFit/>
          </a:bodyPr>
          <a:lstStyle/>
          <a:p>
            <a:pPr algn="r"/>
            <a:r>
              <a:rPr lang="en-CA" sz="1400" b="1" dirty="0" smtClean="0">
                <a:solidFill>
                  <a:srgbClr val="333333"/>
                </a:solidFill>
              </a:rPr>
              <a:t>RPO</a:t>
            </a:r>
            <a:endParaRPr lang="en-CA" sz="1400" b="1" dirty="0">
              <a:solidFill>
                <a:srgbClr val="333333"/>
              </a:solidFill>
            </a:endParaRPr>
          </a:p>
          <a:p>
            <a:pPr algn="r"/>
            <a:r>
              <a:rPr lang="en-CA" sz="1050" dirty="0">
                <a:solidFill>
                  <a:srgbClr val="333333"/>
                </a:solidFill>
              </a:rPr>
              <a:t>Data loss in hours</a:t>
            </a:r>
            <a:endParaRPr lang="en-CA" sz="1000" dirty="0"/>
          </a:p>
        </p:txBody>
      </p:sp>
      <p:sp>
        <p:nvSpPr>
          <p:cNvPr id="35" name="Rectangle 34">
            <a:extLst>
              <a:ext uri="{FF2B5EF4-FFF2-40B4-BE49-F238E27FC236}">
                <a16:creationId xmlns="" xmlns:a16="http://schemas.microsoft.com/office/drawing/2014/main" id="{BD560740-6E5F-4317-8503-D7CFD35D6638}"/>
              </a:ext>
            </a:extLst>
          </p:cNvPr>
          <p:cNvSpPr/>
          <p:nvPr/>
        </p:nvSpPr>
        <p:spPr>
          <a:xfrm>
            <a:off x="2544261" y="5267290"/>
            <a:ext cx="3010304" cy="469359"/>
          </a:xfrm>
          <a:prstGeom prst="rect">
            <a:avLst/>
          </a:prstGeom>
          <a:solidFill>
            <a:schemeClr val="bg1"/>
          </a:solidFill>
          <a:ln w="12700">
            <a:solidFill>
              <a:srgbClr val="333333"/>
            </a:solidFill>
          </a:ln>
        </p:spPr>
        <p:txBody>
          <a:bodyPr wrap="square">
            <a:spAutoFit/>
          </a:bodyPr>
          <a:lstStyle/>
          <a:p>
            <a:r>
              <a:rPr lang="en-CA" sz="1400" b="1" dirty="0">
                <a:solidFill>
                  <a:srgbClr val="333333"/>
                </a:solidFill>
              </a:rPr>
              <a:t>RTO</a:t>
            </a:r>
          </a:p>
          <a:p>
            <a:r>
              <a:rPr lang="en-US" sz="1050" dirty="0">
                <a:solidFill>
                  <a:srgbClr val="333333"/>
                </a:solidFill>
              </a:rPr>
              <a:t>System recovery time in hours.</a:t>
            </a:r>
            <a:endParaRPr lang="en-CA" sz="1000" dirty="0"/>
          </a:p>
        </p:txBody>
      </p:sp>
      <p:cxnSp>
        <p:nvCxnSpPr>
          <p:cNvPr id="36" name="Straight Connector 35">
            <a:extLst>
              <a:ext uri="{FF2B5EF4-FFF2-40B4-BE49-F238E27FC236}">
                <a16:creationId xmlns="" xmlns:a16="http://schemas.microsoft.com/office/drawing/2014/main" id="{354DC0D4-3368-46C7-B68A-00063442EF6D}"/>
              </a:ext>
            </a:extLst>
          </p:cNvPr>
          <p:cNvCxnSpPr>
            <a:cxnSpLocks/>
            <a:stCxn id="47" idx="2"/>
          </p:cNvCxnSpPr>
          <p:nvPr/>
        </p:nvCxnSpPr>
        <p:spPr>
          <a:xfrm flipH="1">
            <a:off x="2051778" y="3367800"/>
            <a:ext cx="2398206" cy="0"/>
          </a:xfrm>
          <a:prstGeom prst="line">
            <a:avLst/>
          </a:prstGeom>
          <a:ln w="1270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 xmlns:a16="http://schemas.microsoft.com/office/drawing/2014/main" id="{2C31C86A-09B5-4C0B-9473-FAC1A9259FC4}"/>
              </a:ext>
            </a:extLst>
          </p:cNvPr>
          <p:cNvCxnSpPr/>
          <p:nvPr/>
        </p:nvCxnSpPr>
        <p:spPr>
          <a:xfrm rot="10800000">
            <a:off x="2030996" y="4818555"/>
            <a:ext cx="6372000" cy="0"/>
          </a:xfrm>
          <a:prstGeom prst="line">
            <a:avLst/>
          </a:prstGeom>
          <a:ln w="1270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 xmlns:a16="http://schemas.microsoft.com/office/drawing/2014/main" id="{B9CCE390-F56F-469C-AB3B-BCFE19AEADA5}"/>
              </a:ext>
            </a:extLst>
          </p:cNvPr>
          <p:cNvCxnSpPr/>
          <p:nvPr/>
        </p:nvCxnSpPr>
        <p:spPr>
          <a:xfrm rot="10800000">
            <a:off x="2043869" y="4342883"/>
            <a:ext cx="5266115" cy="0"/>
          </a:xfrm>
          <a:prstGeom prst="line">
            <a:avLst/>
          </a:prstGeom>
          <a:ln w="1270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 xmlns:a16="http://schemas.microsoft.com/office/drawing/2014/main" id="{40B658F2-12DE-4C2D-BA01-7CBB3F2DD25D}"/>
              </a:ext>
            </a:extLst>
          </p:cNvPr>
          <p:cNvCxnSpPr/>
          <p:nvPr/>
        </p:nvCxnSpPr>
        <p:spPr>
          <a:xfrm rot="10800000">
            <a:off x="2044551" y="3867210"/>
            <a:ext cx="3861818" cy="0"/>
          </a:xfrm>
          <a:prstGeom prst="line">
            <a:avLst/>
          </a:prstGeom>
          <a:ln w="1270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 xmlns:a16="http://schemas.microsoft.com/office/drawing/2014/main" id="{C52B25AF-2E29-4C84-BE74-6FFA375525C2}"/>
              </a:ext>
            </a:extLst>
          </p:cNvPr>
          <p:cNvSpPr/>
          <p:nvPr/>
        </p:nvSpPr>
        <p:spPr>
          <a:xfrm>
            <a:off x="2801461" y="3187654"/>
            <a:ext cx="959772" cy="400110"/>
          </a:xfrm>
          <a:prstGeom prst="rect">
            <a:avLst/>
          </a:prstGeom>
          <a:solidFill>
            <a:schemeClr val="bg1"/>
          </a:solidFill>
          <a:ln w="12700">
            <a:solidFill>
              <a:srgbClr val="333333"/>
            </a:solidFill>
          </a:ln>
        </p:spPr>
        <p:txBody>
          <a:bodyPr wrap="square">
            <a:spAutoFit/>
          </a:bodyPr>
          <a:lstStyle/>
          <a:p>
            <a:pPr algn="ctr"/>
            <a:r>
              <a:rPr lang="en-CA" sz="1000" dirty="0">
                <a:solidFill>
                  <a:srgbClr val="333333"/>
                </a:solidFill>
              </a:rPr>
              <a:t>Tier 0 recovery</a:t>
            </a:r>
            <a:endParaRPr lang="en-CA" sz="1000" dirty="0"/>
          </a:p>
        </p:txBody>
      </p:sp>
      <p:sp>
        <p:nvSpPr>
          <p:cNvPr id="41" name="Rectangle 40">
            <a:extLst>
              <a:ext uri="{FF2B5EF4-FFF2-40B4-BE49-F238E27FC236}">
                <a16:creationId xmlns="" xmlns:a16="http://schemas.microsoft.com/office/drawing/2014/main" id="{7E55B433-35F9-4C6F-893D-47F1127E7E21}"/>
              </a:ext>
            </a:extLst>
          </p:cNvPr>
          <p:cNvSpPr/>
          <p:nvPr/>
        </p:nvSpPr>
        <p:spPr>
          <a:xfrm>
            <a:off x="4707006" y="3665521"/>
            <a:ext cx="959772" cy="400110"/>
          </a:xfrm>
          <a:prstGeom prst="rect">
            <a:avLst/>
          </a:prstGeom>
          <a:solidFill>
            <a:schemeClr val="bg1"/>
          </a:solidFill>
          <a:ln w="12700">
            <a:solidFill>
              <a:srgbClr val="333333"/>
            </a:solidFill>
          </a:ln>
        </p:spPr>
        <p:txBody>
          <a:bodyPr wrap="square">
            <a:spAutoFit/>
          </a:bodyPr>
          <a:lstStyle/>
          <a:p>
            <a:pPr algn="ctr"/>
            <a:r>
              <a:rPr lang="en-CA" sz="1000" dirty="0">
                <a:solidFill>
                  <a:srgbClr val="333333"/>
                </a:solidFill>
              </a:rPr>
              <a:t>Tier 1 recovery</a:t>
            </a:r>
            <a:endParaRPr lang="en-CA" sz="1000" dirty="0"/>
          </a:p>
        </p:txBody>
      </p:sp>
      <p:sp>
        <p:nvSpPr>
          <p:cNvPr id="42" name="Rectangle 41">
            <a:extLst>
              <a:ext uri="{FF2B5EF4-FFF2-40B4-BE49-F238E27FC236}">
                <a16:creationId xmlns="" xmlns:a16="http://schemas.microsoft.com/office/drawing/2014/main" id="{53886433-DB7E-4354-9E68-4374D4569390}"/>
              </a:ext>
            </a:extLst>
          </p:cNvPr>
          <p:cNvSpPr/>
          <p:nvPr/>
        </p:nvSpPr>
        <p:spPr>
          <a:xfrm>
            <a:off x="6124459" y="4141861"/>
            <a:ext cx="872520" cy="400110"/>
          </a:xfrm>
          <a:prstGeom prst="rect">
            <a:avLst/>
          </a:prstGeom>
          <a:solidFill>
            <a:schemeClr val="bg1"/>
          </a:solidFill>
          <a:ln w="12700">
            <a:solidFill>
              <a:srgbClr val="333333"/>
            </a:solidFill>
          </a:ln>
        </p:spPr>
        <p:txBody>
          <a:bodyPr wrap="square">
            <a:spAutoFit/>
          </a:bodyPr>
          <a:lstStyle/>
          <a:p>
            <a:pPr algn="ctr"/>
            <a:r>
              <a:rPr lang="en-CA" sz="1000" dirty="0">
                <a:solidFill>
                  <a:srgbClr val="333333"/>
                </a:solidFill>
              </a:rPr>
              <a:t>Tier 2 recovery</a:t>
            </a:r>
            <a:endParaRPr lang="en-CA" sz="1000" dirty="0"/>
          </a:p>
        </p:txBody>
      </p:sp>
      <p:sp>
        <p:nvSpPr>
          <p:cNvPr id="43" name="Rectangle 42">
            <a:extLst>
              <a:ext uri="{FF2B5EF4-FFF2-40B4-BE49-F238E27FC236}">
                <a16:creationId xmlns="" xmlns:a16="http://schemas.microsoft.com/office/drawing/2014/main" id="{8498623F-6D65-4AD6-8B97-F9950340FC6B}"/>
              </a:ext>
            </a:extLst>
          </p:cNvPr>
          <p:cNvSpPr/>
          <p:nvPr/>
        </p:nvSpPr>
        <p:spPr>
          <a:xfrm>
            <a:off x="7446890" y="4618504"/>
            <a:ext cx="826198" cy="400110"/>
          </a:xfrm>
          <a:prstGeom prst="rect">
            <a:avLst/>
          </a:prstGeom>
          <a:solidFill>
            <a:schemeClr val="bg1"/>
          </a:solidFill>
          <a:ln w="12700">
            <a:solidFill>
              <a:srgbClr val="333333"/>
            </a:solidFill>
          </a:ln>
        </p:spPr>
        <p:txBody>
          <a:bodyPr wrap="square">
            <a:spAutoFit/>
          </a:bodyPr>
          <a:lstStyle/>
          <a:p>
            <a:pPr algn="ctr"/>
            <a:r>
              <a:rPr lang="en-CA" sz="1000" dirty="0">
                <a:solidFill>
                  <a:srgbClr val="333333"/>
                </a:solidFill>
              </a:rPr>
              <a:t>Tier 3 recovery</a:t>
            </a:r>
            <a:endParaRPr lang="en-CA" sz="1000" dirty="0"/>
          </a:p>
        </p:txBody>
      </p:sp>
      <p:sp>
        <p:nvSpPr>
          <p:cNvPr id="44" name="Rectangle 43">
            <a:extLst>
              <a:ext uri="{FF2B5EF4-FFF2-40B4-BE49-F238E27FC236}">
                <a16:creationId xmlns="" xmlns:a16="http://schemas.microsoft.com/office/drawing/2014/main" id="{B04BBD21-5655-49EB-ABA3-D9CE3732AFBD}"/>
              </a:ext>
            </a:extLst>
          </p:cNvPr>
          <p:cNvSpPr/>
          <p:nvPr/>
        </p:nvSpPr>
        <p:spPr>
          <a:xfrm>
            <a:off x="6890440" y="6159603"/>
            <a:ext cx="1956548" cy="246221"/>
          </a:xfrm>
          <a:prstGeom prst="rect">
            <a:avLst/>
          </a:prstGeom>
        </p:spPr>
        <p:txBody>
          <a:bodyPr wrap="square">
            <a:spAutoFit/>
          </a:bodyPr>
          <a:lstStyle/>
          <a:p>
            <a:r>
              <a:rPr lang="en-CA" sz="1000" b="1" dirty="0"/>
              <a:t>Adapted from</a:t>
            </a:r>
            <a:r>
              <a:rPr lang="en-CA" sz="1000" b="1" dirty="0" smtClean="0"/>
              <a:t>: </a:t>
            </a:r>
            <a:r>
              <a:rPr lang="en-CA" sz="1000" dirty="0" smtClean="0"/>
              <a:t>BCMpedia, n.d.  </a:t>
            </a:r>
            <a:endParaRPr lang="en-CA" sz="1000" dirty="0"/>
          </a:p>
        </p:txBody>
      </p:sp>
      <p:sp>
        <p:nvSpPr>
          <p:cNvPr id="47" name="Oval 46">
            <a:extLst>
              <a:ext uri="{FF2B5EF4-FFF2-40B4-BE49-F238E27FC236}">
                <a16:creationId xmlns="" xmlns:a16="http://schemas.microsoft.com/office/drawing/2014/main" id="{9D677691-C10E-4596-BC12-6F69C14BF732}"/>
              </a:ext>
            </a:extLst>
          </p:cNvPr>
          <p:cNvSpPr/>
          <p:nvPr/>
        </p:nvSpPr>
        <p:spPr>
          <a:xfrm>
            <a:off x="4449984" y="3263052"/>
            <a:ext cx="211297" cy="209496"/>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1" name="Arrow: Pentagon 50">
            <a:extLst>
              <a:ext uri="{FF2B5EF4-FFF2-40B4-BE49-F238E27FC236}">
                <a16:creationId xmlns="" xmlns:a16="http://schemas.microsoft.com/office/drawing/2014/main" id="{7386C05E-A392-43E9-9977-B6A14BB541EC}"/>
              </a:ext>
            </a:extLst>
          </p:cNvPr>
          <p:cNvSpPr/>
          <p:nvPr/>
        </p:nvSpPr>
        <p:spPr>
          <a:xfrm rot="2649514">
            <a:off x="3315241" y="2629665"/>
            <a:ext cx="1424081" cy="393098"/>
          </a:xfrm>
          <a:prstGeom prst="homePlate">
            <a:avLst>
              <a:gd name="adj" fmla="val 7053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Tier 0 systems online</a:t>
            </a:r>
            <a:endParaRPr lang="en-CA" sz="1050" dirty="0"/>
          </a:p>
        </p:txBody>
      </p:sp>
    </p:spTree>
    <p:extLst>
      <p:ext uri="{BB962C8B-B14F-4D97-AF65-F5344CB8AC3E}">
        <p14:creationId xmlns:p14="http://schemas.microsoft.com/office/powerpoint/2010/main" val="40382130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Take a practical approach that creates a more concise and actionable </a:t>
            </a:r>
            <a:r>
              <a:rPr lang="en-CA" dirty="0" smtClean="0"/>
              <a:t>DRP</a:t>
            </a:r>
            <a:endParaRPr lang="en-CA" dirty="0"/>
          </a:p>
        </p:txBody>
      </p:sp>
      <p:graphicFrame>
        <p:nvGraphicFramePr>
          <p:cNvPr id="3" name="Table 2"/>
          <p:cNvGraphicFramePr>
            <a:graphicFrameLocks noGrp="1"/>
          </p:cNvGraphicFramePr>
          <p:nvPr>
            <p:extLst>
              <p:ext uri="{D42A27DB-BD31-4B8C-83A1-F6EECF244321}">
                <p14:modId xmlns:p14="http://schemas.microsoft.com/office/powerpoint/2010/main" val="3610664939"/>
              </p:ext>
            </p:extLst>
          </p:nvPr>
        </p:nvGraphicFramePr>
        <p:xfrm>
          <a:off x="267038" y="1553671"/>
          <a:ext cx="8597878" cy="4752611"/>
        </p:xfrm>
        <a:graphic>
          <a:graphicData uri="http://schemas.openxmlformats.org/drawingml/2006/table">
            <a:tbl>
              <a:tblPr firstRow="1" bandRow="1">
                <a:tableStyleId>{775DCB02-9BB8-47FD-8907-85C794F793BA}</a:tableStyleId>
              </a:tblPr>
              <a:tblGrid>
                <a:gridCol w="3750070">
                  <a:extLst>
                    <a:ext uri="{9D8B030D-6E8A-4147-A177-3AD203B41FA5}">
                      <a16:colId xmlns="" xmlns:a16="http://schemas.microsoft.com/office/drawing/2014/main" val="20000"/>
                    </a:ext>
                  </a:extLst>
                </a:gridCol>
                <a:gridCol w="1039446">
                  <a:extLst>
                    <a:ext uri="{9D8B030D-6E8A-4147-A177-3AD203B41FA5}">
                      <a16:colId xmlns="" xmlns:a16="http://schemas.microsoft.com/office/drawing/2014/main" val="20001"/>
                    </a:ext>
                  </a:extLst>
                </a:gridCol>
                <a:gridCol w="3808362">
                  <a:extLst>
                    <a:ext uri="{9D8B030D-6E8A-4147-A177-3AD203B41FA5}">
                      <a16:colId xmlns="" xmlns:a16="http://schemas.microsoft.com/office/drawing/2014/main" val="20002"/>
                    </a:ext>
                  </a:extLst>
                </a:gridCol>
              </a:tblGrid>
              <a:tr h="366761">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spcBef>
                          <a:spcPts val="300"/>
                        </a:spcBef>
                        <a:spcAft>
                          <a:spcPts val="300"/>
                        </a:spcAft>
                      </a:pPr>
                      <a:r>
                        <a:rPr lang="en-US" sz="1400" dirty="0"/>
                        <a:t>The Traditional Approach</a:t>
                      </a:r>
                      <a:endParaRPr lang="en-CA" sz="1400" dirty="0"/>
                    </a:p>
                  </a:txBody>
                  <a:tcPr>
                    <a:solidFill>
                      <a:schemeClr val="accent1">
                        <a:lumMod val="75000"/>
                      </a:schemeClr>
                    </a:solidFill>
                  </a:tcPr>
                </a:tc>
                <a:tc>
                  <a:txBody>
                    <a:bodyPr/>
                    <a:lstStyle/>
                    <a:p>
                      <a:endParaRPr lang="en-CA" dirty="0"/>
                    </a:p>
                  </a:txBody>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spcBef>
                          <a:spcPts val="300"/>
                        </a:spcBef>
                        <a:spcAft>
                          <a:spcPts val="300"/>
                        </a:spcAft>
                      </a:pPr>
                      <a:r>
                        <a:rPr lang="en-US" sz="1400" dirty="0" smtClean="0"/>
                        <a:t>Info-Tech’s </a:t>
                      </a:r>
                      <a:r>
                        <a:rPr lang="en-US" sz="1400" dirty="0"/>
                        <a:t>Approach</a:t>
                      </a:r>
                      <a:endParaRPr lang="en-CA" sz="1400" dirty="0"/>
                    </a:p>
                  </a:txBody>
                  <a:tcPr>
                    <a:solidFill>
                      <a:schemeClr val="accent1">
                        <a:lumMod val="75000"/>
                      </a:schemeClr>
                    </a:solidFill>
                  </a:tcPr>
                </a:tc>
                <a:extLst>
                  <a:ext uri="{0D108BD9-81ED-4DB2-BD59-A6C34878D82A}">
                    <a16:rowId xmlns="" xmlns:a16="http://schemas.microsoft.com/office/drawing/2014/main" val="10000"/>
                  </a:ext>
                </a:extLst>
              </a:tr>
              <a:tr h="132950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spcBef>
                          <a:spcPts val="300"/>
                        </a:spcBef>
                        <a:spcAft>
                          <a:spcPts val="300"/>
                        </a:spcAft>
                        <a:buFont typeface="Arial" panose="020B0604020202020204" pitchFamily="34" charset="0"/>
                        <a:buNone/>
                      </a:pPr>
                      <a:r>
                        <a:rPr lang="en-US" sz="1200" b="1" dirty="0"/>
                        <a:t>Start with extensive risk and</a:t>
                      </a:r>
                      <a:r>
                        <a:rPr lang="en-US" sz="1200" b="1" baseline="0" dirty="0"/>
                        <a:t> probability analysis</a:t>
                      </a:r>
                      <a:r>
                        <a:rPr lang="en-CA" sz="1200" b="1" baseline="0" dirty="0"/>
                        <a:t>.</a:t>
                      </a:r>
                      <a:endParaRPr lang="en-CA" sz="1400" b="1" baseline="0" dirty="0"/>
                    </a:p>
                    <a:p>
                      <a:pPr marL="0" indent="0">
                        <a:spcBef>
                          <a:spcPts val="300"/>
                        </a:spcBef>
                        <a:spcAft>
                          <a:spcPts val="300"/>
                        </a:spcAft>
                        <a:buFont typeface="Arial" panose="020B0604020202020204" pitchFamily="34" charset="0"/>
                        <a:buNone/>
                      </a:pPr>
                      <a:r>
                        <a:rPr lang="en-US" sz="1200" b="1" baseline="0" dirty="0"/>
                        <a:t>Challenge:</a:t>
                      </a:r>
                      <a:r>
                        <a:rPr lang="en-US" sz="1200" baseline="0" dirty="0"/>
                        <a:t> You can’t predict every event that can occur, and this delays work on your actual recovery procedures.</a:t>
                      </a:r>
                    </a:p>
                  </a:txBody>
                  <a:tcPr>
                    <a:solidFill>
                      <a:schemeClr val="accent4">
                        <a:lumMod val="85000"/>
                        <a:alpha val="40000"/>
                      </a:schemeClr>
                    </a:solidFill>
                  </a:tcPr>
                </a:tc>
                <a:tc>
                  <a:txBody>
                    <a:bodyPr/>
                    <a:lstStyle/>
                    <a:p>
                      <a:pPr>
                        <a:spcBef>
                          <a:spcPts val="300"/>
                        </a:spcBef>
                        <a:spcAft>
                          <a:spcPts val="300"/>
                        </a:spcAft>
                      </a:pPr>
                      <a:endParaRPr lang="en-CA" sz="1400" dirty="0"/>
                    </a:p>
                  </a:txBody>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spcBef>
                          <a:spcPts val="300"/>
                        </a:spcBef>
                        <a:spcAft>
                          <a:spcPts val="300"/>
                        </a:spcAft>
                      </a:pPr>
                      <a:r>
                        <a:rPr lang="en-US" sz="1200" b="1" dirty="0"/>
                        <a:t>Focus</a:t>
                      </a:r>
                      <a:r>
                        <a:rPr lang="en-US" sz="1200" b="1" baseline="0" dirty="0"/>
                        <a:t> on how to recover regardless of the incident. </a:t>
                      </a:r>
                    </a:p>
                    <a:p>
                      <a:pPr>
                        <a:spcBef>
                          <a:spcPts val="300"/>
                        </a:spcBef>
                        <a:spcAft>
                          <a:spcPts val="300"/>
                        </a:spcAft>
                      </a:pPr>
                      <a:r>
                        <a:rPr lang="en-US" sz="1200" baseline="0" dirty="0"/>
                        <a:t>We know failure will happen. Focus on improving your ability to failover to a DR environment so you are protected regardless of what causes primary site failure.</a:t>
                      </a:r>
                      <a:endParaRPr lang="en-CA" sz="1200" dirty="0"/>
                    </a:p>
                  </a:txBody>
                  <a:tcPr>
                    <a:solidFill>
                      <a:schemeClr val="accent5">
                        <a:lumMod val="75000"/>
                        <a:alpha val="40000"/>
                      </a:schemeClr>
                    </a:solidFill>
                  </a:tcPr>
                </a:tc>
                <a:extLst>
                  <a:ext uri="{0D108BD9-81ED-4DB2-BD59-A6C34878D82A}">
                    <a16:rowId xmlns="" xmlns:a16="http://schemas.microsoft.com/office/drawing/2014/main" val="10001"/>
                  </a:ext>
                </a:extLst>
              </a:tr>
              <a:tr h="154345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spcBef>
                          <a:spcPts val="300"/>
                        </a:spcBef>
                        <a:spcAft>
                          <a:spcPts val="300"/>
                        </a:spcAft>
                      </a:pPr>
                      <a:r>
                        <a:rPr lang="en-US" sz="1200" b="1" dirty="0"/>
                        <a:t>Build a plan for </a:t>
                      </a:r>
                      <a:r>
                        <a:rPr lang="en-US" sz="1200" b="1" baseline="0" dirty="0"/>
                        <a:t>major events such as natural disasters.</a:t>
                      </a:r>
                    </a:p>
                    <a:p>
                      <a:pPr marL="0" marR="0" indent="0" algn="l" defTabSz="914400" rtl="0" eaLnBrk="1" fontAlgn="auto" latinLnBrk="0" hangingPunct="1">
                        <a:lnSpc>
                          <a:spcPct val="100000"/>
                        </a:lnSpc>
                        <a:spcBef>
                          <a:spcPts val="300"/>
                        </a:spcBef>
                        <a:spcAft>
                          <a:spcPts val="300"/>
                        </a:spcAft>
                        <a:buClrTx/>
                        <a:buSzTx/>
                        <a:buFontTx/>
                        <a:buNone/>
                        <a:tabLst/>
                        <a:defRPr/>
                      </a:pPr>
                      <a:r>
                        <a:rPr lang="en-US" sz="1200" b="1" baseline="0" dirty="0"/>
                        <a:t>Challenge: </a:t>
                      </a:r>
                      <a:r>
                        <a:rPr lang="en-US" sz="1200" b="0" baseline="0" dirty="0"/>
                        <a:t>Major destructive events only account for 12% of incidents while software/hardware issues account for 45%. The vast majority of incidents are isolated local events.</a:t>
                      </a:r>
                      <a:endParaRPr lang="en-CA" sz="1100" b="0" dirty="0"/>
                    </a:p>
                  </a:txBody>
                  <a:tcPr>
                    <a:solidFill>
                      <a:schemeClr val="bg1">
                        <a:lumMod val="75000"/>
                      </a:schemeClr>
                    </a:solidFill>
                  </a:tcPr>
                </a:tc>
                <a:tc>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CA" sz="1200" dirty="0"/>
                    </a:p>
                  </a:txBody>
                  <a:tcP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spcBef>
                          <a:spcPts val="300"/>
                        </a:spcBef>
                        <a:spcAft>
                          <a:spcPts val="300"/>
                        </a:spcAft>
                      </a:pPr>
                      <a:r>
                        <a:rPr lang="en-US" sz="1200" b="1" dirty="0"/>
                        <a:t>An effective DRP improves day-to-day service continuity, and is not just for major events. </a:t>
                      </a:r>
                    </a:p>
                    <a:p>
                      <a:pPr>
                        <a:spcBef>
                          <a:spcPts val="300"/>
                        </a:spcBef>
                        <a:spcAft>
                          <a:spcPts val="300"/>
                        </a:spcAft>
                      </a:pPr>
                      <a:r>
                        <a:rPr lang="en-US" sz="1200" dirty="0"/>
                        <a:t>Leverage</a:t>
                      </a:r>
                      <a:r>
                        <a:rPr lang="en-US" sz="1200" baseline="0" dirty="0"/>
                        <a:t> DR planning to address both common (e.g. power/network outage or hardware failure) as well as major events. It must be documentation you can use, not shelfware.</a:t>
                      </a:r>
                      <a:endParaRPr lang="en-CA" sz="1200" dirty="0"/>
                    </a:p>
                  </a:txBody>
                  <a:tcPr>
                    <a:solidFill>
                      <a:schemeClr val="bg1">
                        <a:lumMod val="75000"/>
                      </a:schemeClr>
                    </a:solidFill>
                  </a:tcPr>
                </a:tc>
                <a:extLst>
                  <a:ext uri="{0D108BD9-81ED-4DB2-BD59-A6C34878D82A}">
                    <a16:rowId xmlns="" xmlns:a16="http://schemas.microsoft.com/office/drawing/2014/main" val="10002"/>
                  </a:ext>
                </a:extLst>
              </a:tr>
              <a:tr h="151288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spcBef>
                          <a:spcPts val="300"/>
                        </a:spcBef>
                        <a:spcAft>
                          <a:spcPts val="300"/>
                        </a:spcAft>
                      </a:pPr>
                      <a:r>
                        <a:rPr lang="en-US" sz="1200" b="1" dirty="0"/>
                        <a:t>Create a DRP manual that provides step-by-step instructions that anyone could follow.</a:t>
                      </a:r>
                      <a:endParaRPr lang="en-US" sz="1200" b="1" baseline="0" dirty="0"/>
                    </a:p>
                    <a:p>
                      <a:pPr marL="0" marR="0" indent="0" algn="l" defTabSz="914400" rtl="0" eaLnBrk="1" fontAlgn="auto" latinLnBrk="0" hangingPunct="1">
                        <a:lnSpc>
                          <a:spcPct val="100000"/>
                        </a:lnSpc>
                        <a:spcBef>
                          <a:spcPts val="300"/>
                        </a:spcBef>
                        <a:spcAft>
                          <a:spcPts val="300"/>
                        </a:spcAft>
                        <a:buClrTx/>
                        <a:buSzTx/>
                        <a:buFontTx/>
                        <a:buNone/>
                        <a:tabLst/>
                        <a:defRPr/>
                      </a:pPr>
                      <a:r>
                        <a:rPr lang="en-US" sz="1200" b="1" baseline="0" dirty="0"/>
                        <a:t>Challenge: </a:t>
                      </a:r>
                      <a:r>
                        <a:rPr lang="en-US" sz="1200" b="0" baseline="0" dirty="0"/>
                        <a:t>The result is lengthy, dense manuals that are difficult to maintain and hard to use in a crisis. The usability of DR documents has a direct impact on DR success.</a:t>
                      </a:r>
                      <a:endParaRPr lang="en-CA" sz="1100" b="0" dirty="0"/>
                    </a:p>
                  </a:txBody>
                  <a:tcPr>
                    <a:solidFill>
                      <a:schemeClr val="accent5">
                        <a:lumMod val="75000"/>
                        <a:alpha val="40000"/>
                      </a:schemeClr>
                    </a:solidFill>
                  </a:tcPr>
                </a:tc>
                <a:tc>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CA" sz="1200" dirty="0"/>
                    </a:p>
                  </a:txBody>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400" rtl="0" eaLnBrk="1" fontAlgn="auto" latinLnBrk="0" hangingPunct="1">
                        <a:lnSpc>
                          <a:spcPct val="100000"/>
                        </a:lnSpc>
                        <a:spcBef>
                          <a:spcPts val="300"/>
                        </a:spcBef>
                        <a:spcAft>
                          <a:spcPts val="300"/>
                        </a:spcAft>
                        <a:buClrTx/>
                        <a:buSzTx/>
                        <a:buFontTx/>
                        <a:buNone/>
                        <a:tabLst/>
                        <a:defRPr/>
                      </a:pPr>
                      <a:r>
                        <a:rPr lang="en-US" sz="1200" b="1" dirty="0"/>
                        <a:t>Create concise</a:t>
                      </a:r>
                      <a:r>
                        <a:rPr lang="en-US" sz="1200" b="1" baseline="0" dirty="0"/>
                        <a:t> documentation written for technical experts. </a:t>
                      </a:r>
                    </a:p>
                    <a:p>
                      <a:pPr marL="0" marR="0" indent="0" algn="l" defTabSz="914400" rtl="0" eaLnBrk="1" fontAlgn="auto" latinLnBrk="0" hangingPunct="1">
                        <a:lnSpc>
                          <a:spcPct val="100000"/>
                        </a:lnSpc>
                        <a:spcBef>
                          <a:spcPts val="300"/>
                        </a:spcBef>
                        <a:spcAft>
                          <a:spcPts val="300"/>
                        </a:spcAft>
                        <a:buClrTx/>
                        <a:buSzTx/>
                        <a:buFontTx/>
                        <a:buNone/>
                        <a:tabLst/>
                        <a:defRPr/>
                      </a:pPr>
                      <a:r>
                        <a:rPr lang="en-US" sz="1200" dirty="0"/>
                        <a:t>Use flowcharts, checklists, and diagrams</a:t>
                      </a:r>
                      <a:r>
                        <a:rPr lang="en-US" sz="1200" baseline="0" dirty="0"/>
                        <a:t>. They are more usable in a crisis and easier to maintain. You aren’t going to ask a business user to recover your </a:t>
                      </a:r>
                      <a:r>
                        <a:rPr lang="en-US" sz="1200" baseline="0" dirty="0" smtClean="0"/>
                        <a:t>enterprise resource plan (ERP), </a:t>
                      </a:r>
                      <a:r>
                        <a:rPr lang="en-US" sz="1200" baseline="0" dirty="0"/>
                        <a:t>so you can afford to be concise. </a:t>
                      </a:r>
                      <a:endParaRPr lang="en-CA" sz="1200" dirty="0"/>
                    </a:p>
                  </a:txBody>
                  <a:tcPr>
                    <a:solidFill>
                      <a:schemeClr val="accent5">
                        <a:lumMod val="85000"/>
                        <a:alpha val="40000"/>
                      </a:schemeClr>
                    </a:solidFill>
                  </a:tcPr>
                </a:tc>
                <a:extLst>
                  <a:ext uri="{0D108BD9-81ED-4DB2-BD59-A6C34878D82A}">
                    <a16:rowId xmlns="" xmlns:a16="http://schemas.microsoft.com/office/drawing/2014/main" val="10003"/>
                  </a:ext>
                </a:extLst>
              </a:tr>
            </a:tbl>
          </a:graphicData>
        </a:graphic>
      </p:graphicFrame>
      <p:sp>
        <p:nvSpPr>
          <p:cNvPr id="4" name="Rectangle 3"/>
          <p:cNvSpPr/>
          <p:nvPr/>
        </p:nvSpPr>
        <p:spPr>
          <a:xfrm>
            <a:off x="234041" y="1196170"/>
            <a:ext cx="8538897" cy="307777"/>
          </a:xfrm>
          <a:prstGeom prst="rect">
            <a:avLst/>
          </a:prstGeom>
        </p:spPr>
        <p:txBody>
          <a:bodyPr wrap="square">
            <a:spAutoFit/>
          </a:bodyPr>
          <a:lstStyle/>
          <a:p>
            <a:pPr>
              <a:spcBef>
                <a:spcPts val="600"/>
              </a:spcBef>
              <a:defRPr/>
            </a:pPr>
            <a:r>
              <a:rPr lang="en-US" sz="1400" kern="0" dirty="0">
                <a:solidFill>
                  <a:srgbClr val="333333"/>
                </a:solidFill>
              </a:rPr>
              <a:t>DR planning is not your full-time job, so it can’t be a resource- and time-intensive process. </a:t>
            </a:r>
            <a:endParaRPr lang="en-US" sz="1400" b="1" kern="0" dirty="0">
              <a:solidFill>
                <a:srgbClr val="333333"/>
              </a:solidFill>
            </a:endParaRPr>
          </a:p>
        </p:txBody>
      </p:sp>
      <p:sp>
        <p:nvSpPr>
          <p:cNvPr id="5" name="Right Arrow 4"/>
          <p:cNvSpPr/>
          <p:nvPr/>
        </p:nvSpPr>
        <p:spPr>
          <a:xfrm>
            <a:off x="4221998" y="2458716"/>
            <a:ext cx="671793" cy="415578"/>
          </a:xfrm>
          <a:prstGeom prst="rightArrow">
            <a:avLst/>
          </a:prstGeom>
          <a:solidFill>
            <a:srgbClr val="A24130"/>
          </a:solidFill>
          <a:ln>
            <a:solidFill>
              <a:srgbClr val="A24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 name="Right Arrow 5"/>
          <p:cNvSpPr/>
          <p:nvPr/>
        </p:nvSpPr>
        <p:spPr>
          <a:xfrm>
            <a:off x="4221999" y="3865354"/>
            <a:ext cx="671793" cy="415578"/>
          </a:xfrm>
          <a:prstGeom prst="rightArrow">
            <a:avLst/>
          </a:prstGeom>
          <a:solidFill>
            <a:srgbClr val="A24130"/>
          </a:solidFill>
          <a:ln>
            <a:solidFill>
              <a:srgbClr val="A24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 name="Right Arrow 6"/>
          <p:cNvSpPr/>
          <p:nvPr/>
        </p:nvSpPr>
        <p:spPr>
          <a:xfrm>
            <a:off x="4221999" y="5281179"/>
            <a:ext cx="671793" cy="415578"/>
          </a:xfrm>
          <a:prstGeom prst="rightArrow">
            <a:avLst/>
          </a:prstGeom>
          <a:solidFill>
            <a:srgbClr val="A24130"/>
          </a:solidFill>
          <a:ln>
            <a:solidFill>
              <a:srgbClr val="A24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28187666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8"/>
          <p:cNvGrpSpPr/>
          <p:nvPr/>
        </p:nvGrpSpPr>
        <p:grpSpPr>
          <a:xfrm>
            <a:off x="257174" y="1181522"/>
            <a:ext cx="8551167" cy="4427581"/>
            <a:chOff x="264221" y="2050565"/>
            <a:chExt cx="8551167" cy="4427581"/>
          </a:xfrm>
        </p:grpSpPr>
        <p:sp>
          <p:nvSpPr>
            <p:cNvPr id="3" name="Text Placeholder 3"/>
            <p:cNvSpPr txBox="1">
              <a:spLocks/>
            </p:cNvSpPr>
            <p:nvPr/>
          </p:nvSpPr>
          <p:spPr bwMode="auto">
            <a:xfrm>
              <a:off x="264221" y="2050565"/>
              <a:ext cx="8551167" cy="138625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Font typeface="Arial" pitchFamily="34" charset="0"/>
                <a:buNone/>
              </a:pPr>
              <a:r>
                <a:rPr lang="en-US" sz="1400" dirty="0"/>
                <a:t>When a tornado takes out your data center, it’s an obvious DR scenario and the escalation towards declaring a disaster is straightforward.</a:t>
              </a:r>
            </a:p>
            <a:p>
              <a:pPr marL="0" indent="0">
                <a:spcBef>
                  <a:spcPts val="600"/>
                </a:spcBef>
                <a:spcAft>
                  <a:spcPts val="600"/>
                </a:spcAft>
                <a:buFont typeface="Arial" pitchFamily="34" charset="0"/>
                <a:buNone/>
              </a:pPr>
              <a:r>
                <a:rPr lang="en-US" sz="1400" dirty="0"/>
                <a:t>The challenge is to be just as decisive in less-obvious (and more common) DR scenarios such as a critical system hardware/software failure, and knowing </a:t>
              </a:r>
              <a:r>
                <a:rPr lang="en-US" sz="1400" b="1" dirty="0"/>
                <a:t>when to move from incident management to DR. Don’t get stuck troubleshooting for days when you could have failed over in hours.</a:t>
              </a:r>
            </a:p>
            <a:p>
              <a:pPr marL="0" indent="0">
                <a:spcBef>
                  <a:spcPts val="600"/>
                </a:spcBef>
                <a:spcAft>
                  <a:spcPts val="600"/>
                </a:spcAft>
                <a:buNone/>
              </a:pPr>
              <a:r>
                <a:rPr lang="en-CA" sz="1400" dirty="0"/>
                <a:t>Bridge the gap with clearly-defined escalation rules and criteria for when to treat an incident as a disaster.</a:t>
              </a:r>
              <a:endParaRPr lang="en-US" sz="1400" dirty="0"/>
            </a:p>
          </p:txBody>
        </p:sp>
        <p:graphicFrame>
          <p:nvGraphicFramePr>
            <p:cNvPr id="5" name="Object 7"/>
            <p:cNvGraphicFramePr>
              <a:graphicFrameLocks/>
            </p:cNvGraphicFramePr>
            <p:nvPr>
              <p:custDataLst>
                <p:tags r:id="rId2"/>
              </p:custDataLst>
              <p:extLst>
                <p:ext uri="{D42A27DB-BD31-4B8C-83A1-F6EECF244321}">
                  <p14:modId xmlns:p14="http://schemas.microsoft.com/office/powerpoint/2010/main" val="3036956705"/>
                </p:ext>
              </p:extLst>
            </p:nvPr>
          </p:nvGraphicFramePr>
          <p:xfrm>
            <a:off x="4775200" y="4127500"/>
            <a:ext cx="3975155" cy="1704364"/>
          </p:xfrm>
          <a:graphic>
            <a:graphicData uri="http://schemas.openxmlformats.org/drawingml/2006/chart">
              <c:chart xmlns:c="http://schemas.openxmlformats.org/drawingml/2006/chart" xmlns:r="http://schemas.openxmlformats.org/officeDocument/2006/relationships" r:id="rId14"/>
            </a:graphicData>
          </a:graphic>
        </p:graphicFrame>
        <p:sp>
          <p:nvSpPr>
            <p:cNvPr id="6" name="Rectangle 31"/>
            <p:cNvSpPr/>
            <p:nvPr>
              <p:custDataLst>
                <p:tags r:id="rId3"/>
              </p:custDataLst>
            </p:nvPr>
          </p:nvSpPr>
          <p:spPr bwMode="auto">
            <a:xfrm>
              <a:off x="7827963" y="5922962"/>
              <a:ext cx="788988"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fld id="{15EA33C0-A187-41DA-B7E0-E8049FE92AD7}" type="datetime'''''Es''''c''alati''o''n P''ro''''c''e''d''u''r''''es'''''''">
                <a:rPr lang="en-US" sz="1200">
                  <a:solidFill>
                    <a:srgbClr val="333333"/>
                  </a:solidFill>
                </a:rPr>
                <a:pPr/>
                <a:t>Escalation Procedures</a:t>
              </a:fld>
              <a:endParaRPr lang="en-US" sz="1200" dirty="0">
                <a:solidFill>
                  <a:srgbClr val="333333"/>
                </a:solidFill>
                <a:sym typeface="Arial"/>
              </a:endParaRPr>
            </a:p>
          </p:txBody>
        </p:sp>
        <p:sp>
          <p:nvSpPr>
            <p:cNvPr id="7" name="Rectangle 32"/>
            <p:cNvSpPr/>
            <p:nvPr>
              <p:custDataLst>
                <p:tags r:id="rId4"/>
              </p:custDataLst>
            </p:nvPr>
          </p:nvSpPr>
          <p:spPr bwMode="auto">
            <a:xfrm>
              <a:off x="6992937" y="5922962"/>
              <a:ext cx="5445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fld id="{D405574C-B034-4AD7-A888-E181B9692449}" type="datetime'I''n''c''''''id''''''en''''t'' ''''''Model''''''''''''s'''''''">
                <a:rPr lang="en-US" sz="1200">
                  <a:solidFill>
                    <a:srgbClr val="333333"/>
                  </a:solidFill>
                </a:rPr>
                <a:pPr/>
                <a:t>Incident Models</a:t>
              </a:fld>
              <a:endParaRPr lang="en-US" sz="1200" dirty="0">
                <a:solidFill>
                  <a:srgbClr val="333333"/>
                </a:solidFill>
                <a:sym typeface="Arial"/>
              </a:endParaRPr>
            </a:p>
          </p:txBody>
        </p:sp>
        <p:sp>
          <p:nvSpPr>
            <p:cNvPr id="8" name="Rectangle 33"/>
            <p:cNvSpPr/>
            <p:nvPr>
              <p:custDataLst>
                <p:tags r:id="rId5"/>
              </p:custDataLst>
            </p:nvPr>
          </p:nvSpPr>
          <p:spPr bwMode="auto">
            <a:xfrm>
              <a:off x="5927725" y="5922962"/>
              <a:ext cx="763588"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fld id="{6EB75978-BD31-428F-AB49-9B9C772FC984}" type="datetime' S''''''''''e''''''veri''''ty ''''De''fini''ti''''''ons'' '''">
                <a:rPr lang="en-US" sz="1200">
                  <a:solidFill>
                    <a:srgbClr val="333333"/>
                  </a:solidFill>
                </a:rPr>
                <a:pPr/>
                <a:t> Severity Definitions </a:t>
              </a:fld>
              <a:endParaRPr lang="en-US" sz="1200" dirty="0">
                <a:solidFill>
                  <a:srgbClr val="333333"/>
                </a:solidFill>
                <a:sym typeface="Arial"/>
              </a:endParaRPr>
            </a:p>
          </p:txBody>
        </p:sp>
        <p:sp>
          <p:nvSpPr>
            <p:cNvPr id="9" name="Rectangle 34"/>
            <p:cNvSpPr/>
            <p:nvPr>
              <p:custDataLst>
                <p:tags r:id="rId6"/>
              </p:custDataLst>
            </p:nvPr>
          </p:nvSpPr>
          <p:spPr bwMode="auto">
            <a:xfrm>
              <a:off x="4857750" y="5922962"/>
              <a:ext cx="9826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fld id="{0C26D1C4-1478-48E4-9486-2926C72FFBCC}" type="datetime'In''''''cide''nt'''' ''Clas''''s''if''i''''''cati''o''ns'">
                <a:rPr lang="en-US" sz="1200">
                  <a:solidFill>
                    <a:srgbClr val="333333"/>
                  </a:solidFill>
                </a:rPr>
                <a:pPr/>
                <a:t>Incident Classifications</a:t>
              </a:fld>
              <a:endParaRPr lang="en-US" sz="1200" dirty="0">
                <a:solidFill>
                  <a:srgbClr val="333333"/>
                </a:solidFill>
                <a:sym typeface="Arial"/>
              </a:endParaRPr>
            </a:p>
          </p:txBody>
        </p:sp>
        <p:sp>
          <p:nvSpPr>
            <p:cNvPr id="10" name="TextBox 35"/>
            <p:cNvSpPr txBox="1"/>
            <p:nvPr/>
          </p:nvSpPr>
          <p:spPr>
            <a:xfrm rot="16200000">
              <a:off x="3737542" y="4689475"/>
              <a:ext cx="1486110" cy="461665"/>
            </a:xfrm>
            <a:prstGeom prst="rect">
              <a:avLst/>
            </a:prstGeom>
            <a:noFill/>
          </p:spPr>
          <p:txBody>
            <a:bodyPr wrap="square" rtlCol="0">
              <a:spAutoFit/>
            </a:bodyPr>
            <a:lstStyle/>
            <a:p>
              <a:r>
                <a:rPr lang="en-US" sz="1200" dirty="0">
                  <a:solidFill>
                    <a:srgbClr val="333333"/>
                  </a:solidFill>
                </a:rPr>
                <a:t>Success Meeting RTO and RPO</a:t>
              </a:r>
            </a:p>
          </p:txBody>
        </p:sp>
        <p:sp>
          <p:nvSpPr>
            <p:cNvPr id="11" name="TextBox 2"/>
            <p:cNvSpPr txBox="1"/>
            <p:nvPr/>
          </p:nvSpPr>
          <p:spPr bwMode="auto">
            <a:xfrm>
              <a:off x="3129208" y="6290191"/>
              <a:ext cx="2702777" cy="18795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a:lstStyle/>
            <a:p>
              <a:pPr>
                <a:defRPr/>
              </a:pPr>
              <a:r>
                <a:rPr lang="en-US" sz="1000" b="1" dirty="0">
                  <a:solidFill>
                    <a:srgbClr val="333333"/>
                  </a:solidFill>
                  <a:cs typeface="Arial" charset="0"/>
                </a:rPr>
                <a:t>Source:</a:t>
              </a:r>
              <a:r>
                <a:rPr lang="en-US" sz="1000" dirty="0">
                  <a:solidFill>
                    <a:srgbClr val="333333"/>
                  </a:solidFill>
                  <a:cs typeface="Arial" charset="0"/>
                </a:rPr>
                <a:t> Info-Tech Research Group;</a:t>
              </a:r>
              <a:r>
                <a:rPr lang="en-US" sz="1000" i="1" dirty="0">
                  <a:solidFill>
                    <a:srgbClr val="333333"/>
                  </a:solidFill>
                  <a:cs typeface="Arial" charset="0"/>
                </a:rPr>
                <a:t> N=92</a:t>
              </a:r>
            </a:p>
            <a:p>
              <a:pPr>
                <a:defRPr/>
              </a:pPr>
              <a:endParaRPr lang="en-US" sz="1000" i="1" dirty="0">
                <a:solidFill>
                  <a:srgbClr val="333333"/>
                </a:solidFill>
                <a:cs typeface="Arial" charset="0"/>
              </a:endParaRPr>
            </a:p>
          </p:txBody>
        </p:sp>
        <p:graphicFrame>
          <p:nvGraphicFramePr>
            <p:cNvPr id="12" name="Object 37"/>
            <p:cNvGraphicFramePr>
              <a:graphicFrameLocks noChangeAspect="1"/>
            </p:cNvGraphicFramePr>
            <p:nvPr>
              <p:custDataLst>
                <p:tags r:id="rId7"/>
              </p:custDataLst>
              <p:extLst>
                <p:ext uri="{D42A27DB-BD31-4B8C-83A1-F6EECF244321}">
                  <p14:modId xmlns:p14="http://schemas.microsoft.com/office/powerpoint/2010/main" val="524229781"/>
                </p:ext>
              </p:extLst>
            </p:nvPr>
          </p:nvGraphicFramePr>
          <p:xfrm>
            <a:off x="761999" y="4076700"/>
            <a:ext cx="2865044" cy="1805964"/>
          </p:xfrm>
          <a:graphic>
            <a:graphicData uri="http://schemas.openxmlformats.org/presentationml/2006/ole">
              <mc:AlternateContent xmlns:mc="http://schemas.openxmlformats.org/markup-compatibility/2006">
                <mc:Choice xmlns:v="urn:schemas-microsoft-com:vml" Requires="v">
                  <p:oleObj spid="_x0000_s1099" name="Chart" r:id="rId15" imgW="2866957" imgH="1809660" progId="MSGraph.Chart.8">
                    <p:embed followColorScheme="full"/>
                  </p:oleObj>
                </mc:Choice>
                <mc:Fallback>
                  <p:oleObj name="Chart" r:id="rId15" imgW="2866957" imgH="1809660" progId="MSGraph.Chart.8">
                    <p:embed followColorScheme="full"/>
                    <p:pic>
                      <p:nvPicPr>
                        <p:cNvPr id="0" name=""/>
                        <p:cNvPicPr>
                          <a:picLocks noChangeAspect="1" noChangeArrowheads="1"/>
                        </p:cNvPicPr>
                        <p:nvPr/>
                      </p:nvPicPr>
                      <p:blipFill>
                        <a:blip r:embed="rId16"/>
                        <a:srcRect/>
                        <a:stretch>
                          <a:fillRect/>
                        </a:stretch>
                      </p:blipFill>
                      <p:spPr bwMode="auto">
                        <a:xfrm>
                          <a:off x="761999" y="4076700"/>
                          <a:ext cx="2865044" cy="180596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3" name="Straight Connector 38"/>
            <p:cNvCxnSpPr/>
            <p:nvPr>
              <p:custDataLst>
                <p:tags r:id="rId8"/>
              </p:custDataLst>
            </p:nvPr>
          </p:nvCxnSpPr>
          <p:spPr bwMode="gray">
            <a:xfrm flipH="1">
              <a:off x="868362" y="4357687"/>
              <a:ext cx="2667000" cy="1082675"/>
            </a:xfrm>
            <a:prstGeom prst="line">
              <a:avLst/>
            </a:prstGeom>
            <a:ln w="1905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39"/>
            <p:cNvSpPr txBox="1"/>
            <p:nvPr/>
          </p:nvSpPr>
          <p:spPr>
            <a:xfrm rot="16200000">
              <a:off x="-103176" y="4775624"/>
              <a:ext cx="1399855" cy="461665"/>
            </a:xfrm>
            <a:prstGeom prst="rect">
              <a:avLst/>
            </a:prstGeom>
            <a:noFill/>
          </p:spPr>
          <p:txBody>
            <a:bodyPr wrap="square" rtlCol="0">
              <a:spAutoFit/>
            </a:bodyPr>
            <a:lstStyle/>
            <a:p>
              <a:r>
                <a:rPr lang="en-US" sz="1200" dirty="0">
                  <a:solidFill>
                    <a:srgbClr val="333333"/>
                  </a:solidFill>
                </a:rPr>
                <a:t>Success Meeting RTO and RPO</a:t>
              </a:r>
            </a:p>
          </p:txBody>
        </p:sp>
        <p:sp>
          <p:nvSpPr>
            <p:cNvPr id="15" name="TextBox 40"/>
            <p:cNvSpPr txBox="1"/>
            <p:nvPr/>
          </p:nvSpPr>
          <p:spPr>
            <a:xfrm>
              <a:off x="943896" y="5816600"/>
              <a:ext cx="2586703" cy="461665"/>
            </a:xfrm>
            <a:prstGeom prst="rect">
              <a:avLst/>
            </a:prstGeom>
            <a:noFill/>
          </p:spPr>
          <p:txBody>
            <a:bodyPr wrap="square" rtlCol="0">
              <a:spAutoFit/>
            </a:bodyPr>
            <a:lstStyle/>
            <a:p>
              <a:r>
                <a:rPr lang="en-US" sz="1200" dirty="0">
                  <a:solidFill>
                    <a:srgbClr val="333333"/>
                  </a:solidFill>
                </a:rPr>
                <a:t>Extent That Service Management Processes Account for Disasters</a:t>
              </a:r>
            </a:p>
          </p:txBody>
        </p:sp>
        <p:sp>
          <p:nvSpPr>
            <p:cNvPr id="16" name="TextBox 41"/>
            <p:cNvSpPr txBox="1"/>
            <p:nvPr/>
          </p:nvSpPr>
          <p:spPr>
            <a:xfrm>
              <a:off x="575556" y="4012466"/>
              <a:ext cx="457200" cy="246221"/>
            </a:xfrm>
            <a:prstGeom prst="rect">
              <a:avLst/>
            </a:prstGeom>
            <a:noFill/>
          </p:spPr>
          <p:txBody>
            <a:bodyPr wrap="square" rtlCol="0">
              <a:spAutoFit/>
            </a:bodyPr>
            <a:lstStyle/>
            <a:p>
              <a:r>
                <a:rPr lang="en-US" sz="1000" dirty="0">
                  <a:solidFill>
                    <a:srgbClr val="333333"/>
                  </a:solidFill>
                </a:rPr>
                <a:t>High</a:t>
              </a:r>
            </a:p>
          </p:txBody>
        </p:sp>
        <p:sp>
          <p:nvSpPr>
            <p:cNvPr id="17" name="TextBox 42"/>
            <p:cNvSpPr txBox="1"/>
            <p:nvPr/>
          </p:nvSpPr>
          <p:spPr>
            <a:xfrm>
              <a:off x="575556" y="5738813"/>
              <a:ext cx="457200" cy="246221"/>
            </a:xfrm>
            <a:prstGeom prst="rect">
              <a:avLst/>
            </a:prstGeom>
            <a:noFill/>
          </p:spPr>
          <p:txBody>
            <a:bodyPr wrap="square" rtlCol="0">
              <a:spAutoFit/>
            </a:bodyPr>
            <a:lstStyle/>
            <a:p>
              <a:r>
                <a:rPr lang="en-US" sz="1000" dirty="0">
                  <a:solidFill>
                    <a:srgbClr val="333333"/>
                  </a:solidFill>
                </a:rPr>
                <a:t>Low</a:t>
              </a:r>
            </a:p>
          </p:txBody>
        </p:sp>
        <p:sp>
          <p:nvSpPr>
            <p:cNvPr id="18" name="TextBox 43"/>
            <p:cNvSpPr txBox="1"/>
            <p:nvPr/>
          </p:nvSpPr>
          <p:spPr>
            <a:xfrm>
              <a:off x="3383868" y="5754688"/>
              <a:ext cx="457200" cy="246221"/>
            </a:xfrm>
            <a:prstGeom prst="rect">
              <a:avLst/>
            </a:prstGeom>
            <a:noFill/>
          </p:spPr>
          <p:txBody>
            <a:bodyPr wrap="square" rtlCol="0">
              <a:spAutoFit/>
            </a:bodyPr>
            <a:lstStyle/>
            <a:p>
              <a:r>
                <a:rPr lang="en-US" sz="1000" dirty="0">
                  <a:solidFill>
                    <a:srgbClr val="333333"/>
                  </a:solidFill>
                </a:rPr>
                <a:t>High</a:t>
              </a:r>
            </a:p>
          </p:txBody>
        </p:sp>
        <p:sp>
          <p:nvSpPr>
            <p:cNvPr id="19" name="Rectangle 44"/>
            <p:cNvSpPr/>
            <p:nvPr>
              <p:custDataLst>
                <p:tags r:id="rId9"/>
              </p:custDataLst>
            </p:nvPr>
          </p:nvSpPr>
          <p:spPr bwMode="auto">
            <a:xfrm>
              <a:off x="7502525" y="4160838"/>
              <a:ext cx="214313" cy="160338"/>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0" name="Rectangle 45"/>
            <p:cNvSpPr/>
            <p:nvPr>
              <p:custDataLst>
                <p:tags r:id="rId10"/>
              </p:custDataLst>
            </p:nvPr>
          </p:nvSpPr>
          <p:spPr bwMode="auto">
            <a:xfrm>
              <a:off x="7502525" y="4394200"/>
              <a:ext cx="214313" cy="160337"/>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1" name="Rectangle 46"/>
            <p:cNvSpPr/>
            <p:nvPr>
              <p:custDataLst>
                <p:tags r:id="rId11"/>
              </p:custDataLst>
            </p:nvPr>
          </p:nvSpPr>
          <p:spPr bwMode="auto">
            <a:xfrm>
              <a:off x="7767638" y="4389438"/>
              <a:ext cx="9636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0F6BEF65-72FA-45CE-ADE8-1568BF651E54}" type="datetime'N''''o''''''''t'' ''In''''t''''''''e''''gr''a''''''''t''e''d'">
                <a:rPr lang="en-US" sz="1200">
                  <a:solidFill>
                    <a:srgbClr val="333333"/>
                  </a:solidFill>
                </a:rPr>
                <a:pPr/>
                <a:t>Not Integrated</a:t>
              </a:fld>
              <a:endParaRPr lang="en-US" sz="1200" dirty="0">
                <a:solidFill>
                  <a:srgbClr val="333333"/>
                </a:solidFill>
                <a:sym typeface="Arial"/>
              </a:endParaRPr>
            </a:p>
          </p:txBody>
        </p:sp>
        <p:sp>
          <p:nvSpPr>
            <p:cNvPr id="22" name="Rectangle 47"/>
            <p:cNvSpPr/>
            <p:nvPr>
              <p:custDataLst>
                <p:tags r:id="rId12"/>
              </p:custDataLst>
            </p:nvPr>
          </p:nvSpPr>
          <p:spPr bwMode="auto">
            <a:xfrm>
              <a:off x="7767638" y="4156075"/>
              <a:ext cx="10477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6BB68F48-3132-488F-9FCA-8B6153460433}" type="datetime'D''''''''''''''R''''P ''In''''''''te''''g''r''a''t''''''e''d'">
                <a:rPr lang="en-US" sz="1200">
                  <a:solidFill>
                    <a:srgbClr val="333333"/>
                  </a:solidFill>
                </a:rPr>
                <a:pPr/>
                <a:t>DRP Integrated</a:t>
              </a:fld>
              <a:endParaRPr lang="en-US" sz="1200" dirty="0">
                <a:solidFill>
                  <a:srgbClr val="333333"/>
                </a:solidFill>
                <a:sym typeface="Arial"/>
              </a:endParaRPr>
            </a:p>
          </p:txBody>
        </p:sp>
        <p:sp>
          <p:nvSpPr>
            <p:cNvPr id="23" name="TextBox 48"/>
            <p:cNvSpPr txBox="1"/>
            <p:nvPr/>
          </p:nvSpPr>
          <p:spPr>
            <a:xfrm>
              <a:off x="4546848" y="4004650"/>
              <a:ext cx="457200" cy="246221"/>
            </a:xfrm>
            <a:prstGeom prst="rect">
              <a:avLst/>
            </a:prstGeom>
            <a:noFill/>
          </p:spPr>
          <p:txBody>
            <a:bodyPr wrap="square" rtlCol="0">
              <a:spAutoFit/>
            </a:bodyPr>
            <a:lstStyle/>
            <a:p>
              <a:r>
                <a:rPr lang="en-US" sz="1000" dirty="0">
                  <a:solidFill>
                    <a:srgbClr val="333333"/>
                  </a:solidFill>
                </a:rPr>
                <a:t>High</a:t>
              </a:r>
            </a:p>
          </p:txBody>
        </p:sp>
        <p:sp>
          <p:nvSpPr>
            <p:cNvPr id="24" name="TextBox 49"/>
            <p:cNvSpPr txBox="1"/>
            <p:nvPr/>
          </p:nvSpPr>
          <p:spPr>
            <a:xfrm>
              <a:off x="4546848" y="5738813"/>
              <a:ext cx="457200" cy="246221"/>
            </a:xfrm>
            <a:prstGeom prst="rect">
              <a:avLst/>
            </a:prstGeom>
            <a:noFill/>
          </p:spPr>
          <p:txBody>
            <a:bodyPr wrap="square" rtlCol="0">
              <a:spAutoFit/>
            </a:bodyPr>
            <a:lstStyle/>
            <a:p>
              <a:r>
                <a:rPr lang="en-US" sz="1000" dirty="0">
                  <a:solidFill>
                    <a:srgbClr val="333333"/>
                  </a:solidFill>
                </a:rPr>
                <a:t>Low</a:t>
              </a:r>
            </a:p>
          </p:txBody>
        </p:sp>
        <p:cxnSp>
          <p:nvCxnSpPr>
            <p:cNvPr id="25" name="Straight Connector 50"/>
            <p:cNvCxnSpPr/>
            <p:nvPr/>
          </p:nvCxnSpPr>
          <p:spPr>
            <a:xfrm>
              <a:off x="2231740" y="3837139"/>
              <a:ext cx="4500500"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sp>
        <p:nvSpPr>
          <p:cNvPr id="26" name="Title 25"/>
          <p:cNvSpPr>
            <a:spLocks noGrp="1"/>
          </p:cNvSpPr>
          <p:nvPr>
            <p:ph type="title"/>
          </p:nvPr>
        </p:nvSpPr>
        <p:spPr/>
        <p:txBody>
          <a:bodyPr/>
          <a:lstStyle/>
          <a:p>
            <a:r>
              <a:rPr lang="en-CA" dirty="0"/>
              <a:t>DR must be integrated with day-to-day incident management to ensure service continuity</a:t>
            </a:r>
          </a:p>
        </p:txBody>
      </p:sp>
      <p:grpSp>
        <p:nvGrpSpPr>
          <p:cNvPr id="28" name="Group 74"/>
          <p:cNvGrpSpPr/>
          <p:nvPr/>
        </p:nvGrpSpPr>
        <p:grpSpPr>
          <a:xfrm>
            <a:off x="-31839" y="5329006"/>
            <a:ext cx="8589981" cy="1444877"/>
            <a:chOff x="-30723" y="836824"/>
            <a:chExt cx="8908022" cy="1444877"/>
          </a:xfrm>
        </p:grpSpPr>
        <p:sp>
          <p:nvSpPr>
            <p:cNvPr id="2" name="Title 2"/>
            <p:cNvSpPr txBox="1">
              <a:spLocks/>
            </p:cNvSpPr>
            <p:nvPr/>
          </p:nvSpPr>
          <p:spPr>
            <a:xfrm>
              <a:off x="244916" y="1359886"/>
              <a:ext cx="8632383" cy="380457"/>
            </a:xfrm>
            <a:prstGeom prst="rect">
              <a:avLst/>
            </a:prstGeom>
            <a:solidFill>
              <a:schemeClr val="bg1">
                <a:lumMod val="95000"/>
              </a:schemeClr>
            </a:solidFill>
            <a:ln w="28575">
              <a:noFill/>
            </a:ln>
          </p:spPr>
          <p:txBody>
            <a:bodyPr anchor="ctr"/>
            <a:lst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r">
                <a:spcAft>
                  <a:spcPts val="1200"/>
                </a:spcAft>
              </a:pPr>
              <a:r>
                <a:rPr lang="en-US" sz="1800" i="1" dirty="0">
                  <a:solidFill>
                    <a:srgbClr val="A24130"/>
                  </a:solidFill>
                  <a:latin typeface="+mn-lt"/>
                </a:rPr>
                <a:t>The DRP is separate from day-to-day ops and incident management.</a:t>
              </a:r>
            </a:p>
          </p:txBody>
        </p:sp>
        <p:pic>
          <p:nvPicPr>
            <p:cNvPr id="4" name="Picture 76"/>
            <p:cNvPicPr>
              <a:picLocks noChangeAspect="1"/>
            </p:cNvPicPr>
            <p:nvPr/>
          </p:nvPicPr>
          <p:blipFill>
            <a:blip r:embed="rId17"/>
            <a:stretch>
              <a:fillRect/>
            </a:stretch>
          </p:blipFill>
          <p:spPr>
            <a:xfrm>
              <a:off x="-30723" y="836824"/>
              <a:ext cx="1633870" cy="1444877"/>
            </a:xfrm>
            <a:prstGeom prst="rect">
              <a:avLst/>
            </a:prstGeom>
          </p:spPr>
        </p:pic>
      </p:grpSp>
    </p:spTree>
    <p:extLst>
      <p:ext uri="{BB962C8B-B14F-4D97-AF65-F5344CB8AC3E}">
        <p14:creationId xmlns:p14="http://schemas.microsoft.com/office/powerpoint/2010/main" val="20212539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p:cNvSpPr>
            <a:spLocks noGrp="1"/>
          </p:cNvSpPr>
          <p:nvPr>
            <p:ph type="title"/>
          </p:nvPr>
        </p:nvSpPr>
        <p:spPr/>
        <p:txBody>
          <a:bodyPr/>
          <a:lstStyle/>
          <a:p>
            <a:r>
              <a:rPr lang="en-CA" dirty="0"/>
              <a:t>The most common threats to service continuity are hardware and software failures, network outages, and power </a:t>
            </a:r>
            <a:r>
              <a:rPr lang="en-CA" dirty="0" smtClean="0"/>
              <a:t>outages</a:t>
            </a:r>
            <a:endParaRPr lang="en-CA" dirty="0"/>
          </a:p>
        </p:txBody>
      </p:sp>
      <p:grpSp>
        <p:nvGrpSpPr>
          <p:cNvPr id="27" name="Group 37">
            <a:extLst>
              <a:ext uri="{FF2B5EF4-FFF2-40B4-BE49-F238E27FC236}">
                <a16:creationId xmlns:a16="http://schemas.microsoft.com/office/drawing/2014/main" xmlns="" id="{370EDE9F-3505-45FB-94DD-BCC3A06ACE67}"/>
              </a:ext>
            </a:extLst>
          </p:cNvPr>
          <p:cNvGrpSpPr/>
          <p:nvPr/>
        </p:nvGrpSpPr>
        <p:grpSpPr>
          <a:xfrm>
            <a:off x="229756" y="1298408"/>
            <a:ext cx="8647543" cy="4073071"/>
            <a:chOff x="247432" y="2213390"/>
            <a:chExt cx="8647543" cy="4073071"/>
          </a:xfrm>
        </p:grpSpPr>
        <p:sp>
          <p:nvSpPr>
            <p:cNvPr id="3" name="Text Placeholder 3"/>
            <p:cNvSpPr txBox="1">
              <a:spLocks/>
            </p:cNvSpPr>
            <p:nvPr/>
          </p:nvSpPr>
          <p:spPr bwMode="auto">
            <a:xfrm>
              <a:off x="589575" y="2213390"/>
              <a:ext cx="4208825" cy="60606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b="1" dirty="0"/>
                <a:t>45% </a:t>
              </a:r>
              <a:r>
                <a:rPr lang="en-US" dirty="0"/>
                <a:t>of service interruptions that went beyond maximum downtime guidelines set by the business </a:t>
              </a:r>
              <a:r>
                <a:rPr lang="en-US" b="1" dirty="0"/>
                <a:t>were caused by software and hardware issues.</a:t>
              </a:r>
              <a:r>
                <a:rPr lang="en-US" dirty="0"/>
                <a:t> </a:t>
              </a:r>
            </a:p>
          </p:txBody>
        </p:sp>
        <p:graphicFrame>
          <p:nvGraphicFramePr>
            <p:cNvPr id="4" name="Object 5"/>
            <p:cNvGraphicFramePr>
              <a:graphicFrameLocks/>
            </p:cNvGraphicFramePr>
            <p:nvPr>
              <p:custDataLst>
                <p:tags r:id="rId1"/>
              </p:custDataLst>
              <p:extLst>
                <p:ext uri="{D42A27DB-BD31-4B8C-83A1-F6EECF244321}">
                  <p14:modId xmlns:p14="http://schemas.microsoft.com/office/powerpoint/2010/main" val="3269940085"/>
                </p:ext>
              </p:extLst>
            </p:nvPr>
          </p:nvGraphicFramePr>
          <p:xfrm>
            <a:off x="736600" y="3327400"/>
            <a:ext cx="8158375" cy="1208982"/>
          </p:xfrm>
          <a:graphic>
            <a:graphicData uri="http://schemas.openxmlformats.org/drawingml/2006/chart">
              <c:chart xmlns:c="http://schemas.openxmlformats.org/drawingml/2006/chart" xmlns:r="http://schemas.openxmlformats.org/officeDocument/2006/relationships" r:id="rId24"/>
            </a:graphicData>
          </a:graphic>
        </p:graphicFrame>
        <p:cxnSp>
          <p:nvCxnSpPr>
            <p:cNvPr id="5" name="Straight Connector 41"/>
            <p:cNvCxnSpPr/>
            <p:nvPr>
              <p:custDataLst>
                <p:tags r:id="rId2"/>
              </p:custDataLst>
            </p:nvPr>
          </p:nvCxnSpPr>
          <p:spPr bwMode="auto">
            <a:xfrm>
              <a:off x="2520950" y="3189287"/>
              <a:ext cx="0" cy="307975"/>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6" name="Straight Connector 42"/>
            <p:cNvCxnSpPr/>
            <p:nvPr>
              <p:custDataLst>
                <p:tags r:id="rId3"/>
              </p:custDataLst>
            </p:nvPr>
          </p:nvCxnSpPr>
          <p:spPr bwMode="auto">
            <a:xfrm>
              <a:off x="1370012" y="3189287"/>
              <a:ext cx="1150937"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43"/>
            <p:cNvCxnSpPr/>
            <p:nvPr>
              <p:custDataLst>
                <p:tags r:id="rId4"/>
              </p:custDataLst>
            </p:nvPr>
          </p:nvCxnSpPr>
          <p:spPr bwMode="auto">
            <a:xfrm flipV="1">
              <a:off x="1370012" y="3189287"/>
              <a:ext cx="0" cy="155575"/>
            </a:xfrm>
            <a:prstGeom prst="line">
              <a:avLst/>
            </a:prstGeom>
            <a:ln w="12700">
              <a:solidFill>
                <a:schemeClr val="tx1"/>
              </a:solidFill>
              <a:headEnd type="triangle" w="med" len="med"/>
              <a:tailEnd type="none"/>
            </a:ln>
          </p:spPr>
          <p:style>
            <a:lnRef idx="1">
              <a:schemeClr val="accent1"/>
            </a:lnRef>
            <a:fillRef idx="0">
              <a:schemeClr val="accent1"/>
            </a:fillRef>
            <a:effectRef idx="0">
              <a:schemeClr val="accent1"/>
            </a:effectRef>
            <a:fontRef idx="minor">
              <a:schemeClr val="tx1"/>
            </a:fontRef>
          </p:style>
        </p:cxnSp>
        <p:sp>
          <p:nvSpPr>
            <p:cNvPr id="8" name="Oval 44"/>
            <p:cNvSpPr/>
            <p:nvPr>
              <p:custDataLst>
                <p:tags r:id="rId5"/>
              </p:custDataLst>
            </p:nvPr>
          </p:nvSpPr>
          <p:spPr bwMode="auto">
            <a:xfrm>
              <a:off x="1449387" y="3071812"/>
              <a:ext cx="990600"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pPr>
              <a:r>
                <a:rPr lang="en-US" sz="1200" b="1" dirty="0">
                  <a:solidFill>
                    <a:srgbClr val="333333"/>
                  </a:solidFill>
                </a:rPr>
                <a:t>45% Total</a:t>
              </a:r>
              <a:endParaRPr lang="en-US" sz="1200" b="1" dirty="0">
                <a:solidFill>
                  <a:srgbClr val="333333"/>
                </a:solidFill>
                <a:sym typeface="Arial"/>
              </a:endParaRPr>
            </a:p>
          </p:txBody>
        </p:sp>
        <p:sp>
          <p:nvSpPr>
            <p:cNvPr id="9" name="Rectangle 45"/>
            <p:cNvSpPr/>
            <p:nvPr>
              <p:custDataLst>
                <p:tags r:id="rId6"/>
              </p:custDataLst>
            </p:nvPr>
          </p:nvSpPr>
          <p:spPr bwMode="auto">
            <a:xfrm>
              <a:off x="7723187" y="4581128"/>
              <a:ext cx="11017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fld id="{6D3877C8-9E68-47CC-8591-F5CC36378EBE}" type="datetime'''''Na''''''''''tu''r''a''''''l'''' ''D''is''''a''ste''''r'''">
                <a:rPr lang="en-US" sz="1200">
                  <a:solidFill>
                    <a:srgbClr val="333333"/>
                  </a:solidFill>
                </a:rPr>
                <a:pPr/>
                <a:t>Natural Disaster</a:t>
              </a:fld>
              <a:endParaRPr lang="en-US" sz="1200" dirty="0">
                <a:solidFill>
                  <a:srgbClr val="333333"/>
                </a:solidFill>
                <a:sym typeface="Arial"/>
              </a:endParaRPr>
            </a:p>
          </p:txBody>
        </p:sp>
        <p:sp>
          <p:nvSpPr>
            <p:cNvPr id="10" name="Rectangle 46"/>
            <p:cNvSpPr/>
            <p:nvPr>
              <p:custDataLst>
                <p:tags r:id="rId7"/>
              </p:custDataLst>
            </p:nvPr>
          </p:nvSpPr>
          <p:spPr bwMode="gray">
            <a:xfrm>
              <a:off x="8143875" y="4275137"/>
              <a:ext cx="2603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lstStyle/>
            <a:p>
              <a:fld id="{490096A3-C445-4FEC-8355-1BA896F3659D}" type="datetime'''5''''''''''''''''''''''''''''''%'''">
                <a:rPr lang="en-US" sz="1200">
                  <a:solidFill>
                    <a:srgbClr val="FFFFFF"/>
                  </a:solidFill>
                </a:rPr>
                <a:pPr/>
                <a:t>5%</a:t>
              </a:fld>
              <a:endParaRPr lang="en-US" sz="1200" dirty="0">
                <a:solidFill>
                  <a:srgbClr val="FFFFFF"/>
                </a:solidFill>
                <a:sym typeface="Arial"/>
              </a:endParaRPr>
            </a:p>
          </p:txBody>
        </p:sp>
        <p:sp>
          <p:nvSpPr>
            <p:cNvPr id="11" name="Rectangle 47"/>
            <p:cNvSpPr/>
            <p:nvPr>
              <p:custDataLst>
                <p:tags r:id="rId8"/>
              </p:custDataLst>
            </p:nvPr>
          </p:nvSpPr>
          <p:spPr bwMode="gray">
            <a:xfrm>
              <a:off x="6992937" y="4278312"/>
              <a:ext cx="2603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lstStyle/>
            <a:p>
              <a:r>
                <a:rPr lang="en-US" sz="1200" dirty="0">
                  <a:solidFill>
                    <a:srgbClr val="FFFFFF"/>
                  </a:solidFill>
                  <a:sym typeface="Arial"/>
                </a:rPr>
                <a:t>7%</a:t>
              </a:r>
            </a:p>
          </p:txBody>
        </p:sp>
        <p:sp>
          <p:nvSpPr>
            <p:cNvPr id="12" name="Rectangle 48"/>
            <p:cNvSpPr/>
            <p:nvPr>
              <p:custDataLst>
                <p:tags r:id="rId9"/>
              </p:custDataLst>
            </p:nvPr>
          </p:nvSpPr>
          <p:spPr bwMode="auto">
            <a:xfrm>
              <a:off x="5454650" y="4581128"/>
              <a:ext cx="1036638" cy="730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r>
                <a:rPr lang="en-US" sz="1200" dirty="0">
                  <a:solidFill>
                    <a:srgbClr val="333333"/>
                  </a:solidFill>
                </a:rPr>
                <a:t>Building Is Inaccessible (e.g. due to a local hazard)</a:t>
              </a:r>
            </a:p>
          </p:txBody>
        </p:sp>
        <p:sp>
          <p:nvSpPr>
            <p:cNvPr id="13" name="Rectangle 49"/>
            <p:cNvSpPr/>
            <p:nvPr>
              <p:custDataLst>
                <p:tags r:id="rId10"/>
              </p:custDataLst>
            </p:nvPr>
          </p:nvSpPr>
          <p:spPr bwMode="gray">
            <a:xfrm>
              <a:off x="5836284" y="4258799"/>
              <a:ext cx="2603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lstStyle/>
            <a:p>
              <a:r>
                <a:rPr lang="en-US" sz="1200" dirty="0">
                  <a:solidFill>
                    <a:srgbClr val="FFFFFF"/>
                  </a:solidFill>
                </a:rPr>
                <a:t>5%</a:t>
              </a:r>
              <a:endParaRPr lang="en-US" sz="1200" dirty="0">
                <a:solidFill>
                  <a:srgbClr val="FFFFFF"/>
                </a:solidFill>
                <a:sym typeface="Arial"/>
              </a:endParaRPr>
            </a:p>
          </p:txBody>
        </p:sp>
        <p:sp>
          <p:nvSpPr>
            <p:cNvPr id="14" name="Rectangle 50"/>
            <p:cNvSpPr/>
            <p:nvPr>
              <p:custDataLst>
                <p:tags r:id="rId11"/>
              </p:custDataLst>
            </p:nvPr>
          </p:nvSpPr>
          <p:spPr bwMode="auto">
            <a:xfrm>
              <a:off x="4330700" y="4581128"/>
              <a:ext cx="9842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fld id="{D33B3E3C-CC42-4988-8F24-E34E87BA14E1}" type="datetime'''P''''''''''''''ower'''' ''''''O''''''ut''ag''e'''''''''''">
                <a:rPr lang="en-US" sz="1200">
                  <a:solidFill>
                    <a:srgbClr val="333333"/>
                  </a:solidFill>
                </a:rPr>
                <a:pPr/>
                <a:t>Power Outage</a:t>
              </a:fld>
              <a:endParaRPr lang="en-US" sz="1200" dirty="0">
                <a:solidFill>
                  <a:srgbClr val="333333"/>
                </a:solidFill>
                <a:sym typeface="Arial"/>
              </a:endParaRPr>
            </a:p>
          </p:txBody>
        </p:sp>
        <p:sp>
          <p:nvSpPr>
            <p:cNvPr id="15" name="Rectangle 51"/>
            <p:cNvSpPr/>
            <p:nvPr>
              <p:custDataLst>
                <p:tags r:id="rId12"/>
              </p:custDataLst>
            </p:nvPr>
          </p:nvSpPr>
          <p:spPr bwMode="gray">
            <a:xfrm>
              <a:off x="4651375" y="3973512"/>
              <a:ext cx="344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lstStyle/>
            <a:p>
              <a:fld id="{5EDE55B6-7B27-4973-9DAA-94A394AF61E1}" type="datetime'''''''''''''1''''''''''''8''''''''''''''''%'''''''''''''''''">
                <a:rPr lang="en-US" sz="1200">
                  <a:solidFill>
                    <a:srgbClr val="FFFFFF"/>
                  </a:solidFill>
                </a:rPr>
                <a:pPr/>
                <a:t>18%</a:t>
              </a:fld>
              <a:endParaRPr lang="en-US" sz="1200" dirty="0">
                <a:solidFill>
                  <a:srgbClr val="FFFFFF"/>
                </a:solidFill>
                <a:sym typeface="Arial"/>
              </a:endParaRPr>
            </a:p>
          </p:txBody>
        </p:sp>
        <p:sp>
          <p:nvSpPr>
            <p:cNvPr id="16" name="Rectangle 52"/>
            <p:cNvSpPr/>
            <p:nvPr>
              <p:custDataLst>
                <p:tags r:id="rId13"/>
              </p:custDataLst>
            </p:nvPr>
          </p:nvSpPr>
          <p:spPr bwMode="auto">
            <a:xfrm>
              <a:off x="3133725" y="4581128"/>
              <a:ext cx="107632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fld id="{8658DE2F-6C08-43BF-A972-C053A4FA07BE}" type="datetime'Ex''t''e''r''n''''''al'' Ne''t''wo''r''k'' Fa''i''lure'''''''">
                <a:rPr lang="en-US" sz="1200">
                  <a:solidFill>
                    <a:srgbClr val="333333"/>
                  </a:solidFill>
                </a:rPr>
                <a:pPr/>
                <a:t>External Network Failure</a:t>
              </a:fld>
              <a:endParaRPr lang="en-US" sz="1200" dirty="0">
                <a:solidFill>
                  <a:srgbClr val="333333"/>
                </a:solidFill>
                <a:sym typeface="Arial"/>
              </a:endParaRPr>
            </a:p>
          </p:txBody>
        </p:sp>
        <p:sp>
          <p:nvSpPr>
            <p:cNvPr id="17" name="Rectangle 53"/>
            <p:cNvSpPr/>
            <p:nvPr>
              <p:custDataLst>
                <p:tags r:id="rId14"/>
              </p:custDataLst>
            </p:nvPr>
          </p:nvSpPr>
          <p:spPr bwMode="gray">
            <a:xfrm>
              <a:off x="3500437" y="3970337"/>
              <a:ext cx="344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lstStyle/>
            <a:p>
              <a:fld id="{D1585CC2-D42A-4C5F-B92A-CAB616DD7231}" type="datetime'''''''''''''''''''''''''''''''''''''''1''''''''''''''9%'">
                <a:rPr lang="en-US" sz="1200">
                  <a:solidFill>
                    <a:srgbClr val="FFFFFF"/>
                  </a:solidFill>
                </a:rPr>
                <a:pPr/>
                <a:t>19%</a:t>
              </a:fld>
              <a:endParaRPr lang="en-US" sz="1200" dirty="0">
                <a:solidFill>
                  <a:srgbClr val="FFFFFF"/>
                </a:solidFill>
                <a:sym typeface="Arial"/>
              </a:endParaRPr>
            </a:p>
          </p:txBody>
        </p:sp>
        <p:sp>
          <p:nvSpPr>
            <p:cNvPr id="18" name="Rectangle 54"/>
            <p:cNvSpPr/>
            <p:nvPr>
              <p:custDataLst>
                <p:tags r:id="rId15"/>
              </p:custDataLst>
            </p:nvPr>
          </p:nvSpPr>
          <p:spPr bwMode="auto">
            <a:xfrm>
              <a:off x="2185987" y="4581128"/>
              <a:ext cx="669925" cy="5476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fld id="{7C2D00CD-5ED8-4AD9-B449-5836165DF55F}" type="datetime'''Is''''''''o''''lat''e''d'' Hardwar''e'''' Fail''ure'''''''">
                <a:rPr lang="en-US" sz="1200">
                  <a:solidFill>
                    <a:srgbClr val="333333"/>
                  </a:solidFill>
                </a:rPr>
                <a:pPr/>
                <a:t>Isolated Hardware Failure</a:t>
              </a:fld>
              <a:endParaRPr lang="en-US" sz="1200" dirty="0">
                <a:solidFill>
                  <a:srgbClr val="333333"/>
                </a:solidFill>
                <a:sym typeface="Arial"/>
              </a:endParaRPr>
            </a:p>
          </p:txBody>
        </p:sp>
        <p:sp>
          <p:nvSpPr>
            <p:cNvPr id="19" name="Rectangle 55"/>
            <p:cNvSpPr/>
            <p:nvPr>
              <p:custDataLst>
                <p:tags r:id="rId16"/>
              </p:custDataLst>
            </p:nvPr>
          </p:nvSpPr>
          <p:spPr bwMode="gray">
            <a:xfrm>
              <a:off x="2349500" y="3921125"/>
              <a:ext cx="344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lstStyle/>
            <a:p>
              <a:fld id="{9E62BD0B-E534-4E10-B666-A93EE199DB19}" type="datetime'2''''''''''1''''''''''''''''''''%'''">
                <a:rPr lang="en-US" sz="1200">
                  <a:solidFill>
                    <a:srgbClr val="FFFFFF"/>
                  </a:solidFill>
                </a:rPr>
                <a:pPr/>
                <a:t>21%</a:t>
              </a:fld>
              <a:endParaRPr lang="en-US" sz="1200" dirty="0">
                <a:solidFill>
                  <a:srgbClr val="FFFFFF"/>
                </a:solidFill>
                <a:sym typeface="Arial"/>
              </a:endParaRPr>
            </a:p>
          </p:txBody>
        </p:sp>
        <p:sp>
          <p:nvSpPr>
            <p:cNvPr id="20" name="Rectangle 56"/>
            <p:cNvSpPr/>
            <p:nvPr>
              <p:custDataLst>
                <p:tags r:id="rId17"/>
              </p:custDataLst>
            </p:nvPr>
          </p:nvSpPr>
          <p:spPr bwMode="auto">
            <a:xfrm>
              <a:off x="811212" y="4581128"/>
              <a:ext cx="11191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fld id="{46BE5BE8-E8B4-42FB-B7FB-B92289B67B87}" type="datetime'So''ftw''a''r''''''e'''' ''''F''ail''''''''''''ur''''e'''''''">
                <a:rPr lang="en-US" sz="1200">
                  <a:solidFill>
                    <a:srgbClr val="333333"/>
                  </a:solidFill>
                </a:rPr>
                <a:pPr/>
                <a:t>Software Failure</a:t>
              </a:fld>
              <a:endParaRPr lang="en-US" sz="1200" dirty="0">
                <a:solidFill>
                  <a:srgbClr val="333333"/>
                </a:solidFill>
                <a:sym typeface="Arial"/>
              </a:endParaRPr>
            </a:p>
          </p:txBody>
        </p:sp>
        <p:sp>
          <p:nvSpPr>
            <p:cNvPr id="21" name="Rectangle 57"/>
            <p:cNvSpPr/>
            <p:nvPr>
              <p:custDataLst>
                <p:tags r:id="rId18"/>
              </p:custDataLst>
            </p:nvPr>
          </p:nvSpPr>
          <p:spPr bwMode="gray">
            <a:xfrm>
              <a:off x="1198562" y="3844925"/>
              <a:ext cx="344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lstStyle/>
            <a:p>
              <a:fld id="{6509A6A5-C9A2-4C6E-9110-B39867E27775}" type="datetime'''''''''''''''''''''''24''''''''''''''''''''%'">
                <a:rPr lang="en-US" sz="1200">
                  <a:solidFill>
                    <a:srgbClr val="FFFFFF"/>
                  </a:solidFill>
                </a:rPr>
                <a:pPr/>
                <a:t>24%</a:t>
              </a:fld>
              <a:endParaRPr lang="en-US" sz="1200" dirty="0">
                <a:solidFill>
                  <a:srgbClr val="FFFFFF"/>
                </a:solidFill>
                <a:sym typeface="Arial"/>
              </a:endParaRPr>
            </a:p>
          </p:txBody>
        </p:sp>
        <p:sp>
          <p:nvSpPr>
            <p:cNvPr id="22" name="TextBox 58"/>
            <p:cNvSpPr txBox="1"/>
            <p:nvPr/>
          </p:nvSpPr>
          <p:spPr>
            <a:xfrm>
              <a:off x="247432" y="3027362"/>
              <a:ext cx="503635" cy="1949450"/>
            </a:xfrm>
            <a:prstGeom prst="rect">
              <a:avLst/>
            </a:prstGeom>
            <a:noFill/>
          </p:spPr>
          <p:txBody>
            <a:bodyPr vert="vert270" wrap="square" rtlCol="0">
              <a:spAutoFit/>
            </a:bodyPr>
            <a:lstStyle/>
            <a:p>
              <a:r>
                <a:rPr lang="en-US" sz="1200" dirty="0">
                  <a:solidFill>
                    <a:srgbClr val="333333"/>
                  </a:solidFill>
                </a:rPr>
                <a:t>Causes of Unacceptable Downtime </a:t>
              </a:r>
            </a:p>
          </p:txBody>
        </p:sp>
        <p:sp>
          <p:nvSpPr>
            <p:cNvPr id="23" name="TextBox 2"/>
            <p:cNvSpPr txBox="1"/>
            <p:nvPr/>
          </p:nvSpPr>
          <p:spPr bwMode="auto">
            <a:xfrm>
              <a:off x="7760334" y="3044806"/>
              <a:ext cx="1110807" cy="52316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a:lstStyle/>
            <a:p>
              <a:pPr>
                <a:defRPr/>
              </a:pPr>
              <a:r>
                <a:rPr lang="en-US" sz="1000" b="1" dirty="0">
                  <a:solidFill>
                    <a:srgbClr val="333333"/>
                  </a:solidFill>
                  <a:cs typeface="Arial" charset="0"/>
                </a:rPr>
                <a:t>Source:</a:t>
              </a:r>
              <a:r>
                <a:rPr lang="en-US" sz="1000" dirty="0">
                  <a:solidFill>
                    <a:srgbClr val="333333"/>
                  </a:solidFill>
                  <a:cs typeface="Arial" charset="0"/>
                </a:rPr>
                <a:t> Info-Tech Research Group; </a:t>
              </a:r>
              <a:r>
                <a:rPr lang="en-US" sz="1000" i="1" dirty="0">
                  <a:solidFill>
                    <a:srgbClr val="333333"/>
                  </a:solidFill>
                  <a:cs typeface="Arial" charset="0"/>
                </a:rPr>
                <a:t>N=87</a:t>
              </a:r>
            </a:p>
            <a:p>
              <a:pPr>
                <a:defRPr/>
              </a:pPr>
              <a:endParaRPr lang="en-US" sz="1000" i="1" dirty="0">
                <a:solidFill>
                  <a:srgbClr val="333333"/>
                </a:solidFill>
                <a:cs typeface="Arial" charset="0"/>
              </a:endParaRPr>
            </a:p>
          </p:txBody>
        </p:sp>
        <p:sp>
          <p:nvSpPr>
            <p:cNvPr id="24" name="Text Placeholder 3"/>
            <p:cNvSpPr txBox="1">
              <a:spLocks/>
            </p:cNvSpPr>
            <p:nvPr/>
          </p:nvSpPr>
          <p:spPr bwMode="auto">
            <a:xfrm>
              <a:off x="5483149" y="2449534"/>
              <a:ext cx="3340251" cy="462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US" b="1" dirty="0">
                  <a:solidFill>
                    <a:srgbClr val="333333"/>
                  </a:solidFill>
                </a:rPr>
                <a:t>Only 12% </a:t>
              </a:r>
              <a:r>
                <a:rPr lang="en-US" dirty="0">
                  <a:solidFill>
                    <a:srgbClr val="333333"/>
                  </a:solidFill>
                </a:rPr>
                <a:t>of incidents </a:t>
              </a:r>
              <a:r>
                <a:rPr lang="en-US" b="1" dirty="0">
                  <a:solidFill>
                    <a:srgbClr val="333333"/>
                  </a:solidFill>
                </a:rPr>
                <a:t>were caused by major destructive events.</a:t>
              </a:r>
            </a:p>
          </p:txBody>
        </p:sp>
        <p:cxnSp>
          <p:nvCxnSpPr>
            <p:cNvPr id="25" name="Straight Arrow Connector 61"/>
            <p:cNvCxnSpPr/>
            <p:nvPr/>
          </p:nvCxnSpPr>
          <p:spPr>
            <a:xfrm flipH="1">
              <a:off x="2014539" y="2844800"/>
              <a:ext cx="171448" cy="187635"/>
            </a:xfrm>
            <a:prstGeom prst="straightConnector1">
              <a:avLst/>
            </a:prstGeom>
            <a:ln w="28575">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62"/>
            <p:cNvCxnSpPr/>
            <p:nvPr/>
          </p:nvCxnSpPr>
          <p:spPr>
            <a:xfrm>
              <a:off x="7153275" y="2930612"/>
              <a:ext cx="219075" cy="673012"/>
            </a:xfrm>
            <a:prstGeom prst="straightConnector1">
              <a:avLst/>
            </a:prstGeom>
            <a:ln w="28575">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TextBox 63"/>
            <p:cNvSpPr txBox="1"/>
            <p:nvPr/>
          </p:nvSpPr>
          <p:spPr>
            <a:xfrm>
              <a:off x="6559550" y="4539667"/>
              <a:ext cx="1272988" cy="830997"/>
            </a:xfrm>
            <a:prstGeom prst="rect">
              <a:avLst/>
            </a:prstGeom>
            <a:noFill/>
          </p:spPr>
          <p:txBody>
            <a:bodyPr wrap="square" rtlCol="0">
              <a:spAutoFit/>
            </a:bodyPr>
            <a:lstStyle/>
            <a:p>
              <a:r>
                <a:rPr lang="en-US" sz="1200" dirty="0">
                  <a:solidFill>
                    <a:srgbClr val="333333"/>
                  </a:solidFill>
                </a:rPr>
                <a:t>Equipment Damage (e.g. due to fire, roof collapse)</a:t>
              </a:r>
            </a:p>
          </p:txBody>
        </p:sp>
        <p:cxnSp>
          <p:nvCxnSpPr>
            <p:cNvPr id="29" name="Straight Connector 64"/>
            <p:cNvCxnSpPr/>
            <p:nvPr>
              <p:custDataLst>
                <p:tags r:id="rId19"/>
              </p:custDataLst>
            </p:nvPr>
          </p:nvCxnSpPr>
          <p:spPr bwMode="auto">
            <a:xfrm>
              <a:off x="8243887" y="3801766"/>
              <a:ext cx="0" cy="415459"/>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Connector 65"/>
            <p:cNvCxnSpPr/>
            <p:nvPr>
              <p:custDataLst>
                <p:tags r:id="rId20"/>
              </p:custDataLst>
            </p:nvPr>
          </p:nvCxnSpPr>
          <p:spPr bwMode="auto">
            <a:xfrm flipV="1">
              <a:off x="7092949" y="3801766"/>
              <a:ext cx="0" cy="305731"/>
            </a:xfrm>
            <a:prstGeom prst="line">
              <a:avLst/>
            </a:prstGeom>
            <a:ln w="12700">
              <a:solidFill>
                <a:schemeClr val="tx1"/>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66"/>
            <p:cNvCxnSpPr/>
            <p:nvPr>
              <p:custDataLst>
                <p:tags r:id="rId21"/>
              </p:custDataLst>
            </p:nvPr>
          </p:nvCxnSpPr>
          <p:spPr bwMode="auto">
            <a:xfrm>
              <a:off x="7092949" y="3801766"/>
              <a:ext cx="1150937"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Oval 67"/>
            <p:cNvSpPr/>
            <p:nvPr>
              <p:custDataLst>
                <p:tags r:id="rId22"/>
              </p:custDataLst>
            </p:nvPr>
          </p:nvSpPr>
          <p:spPr bwMode="auto">
            <a:xfrm>
              <a:off x="7153275" y="3684291"/>
              <a:ext cx="990600"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pPr>
              <a:r>
                <a:rPr lang="en-US" sz="1200" b="1" dirty="0">
                  <a:solidFill>
                    <a:srgbClr val="333333"/>
                  </a:solidFill>
                </a:rPr>
                <a:t>12% Total</a:t>
              </a:r>
              <a:endParaRPr lang="en-US" sz="1200" b="1" dirty="0">
                <a:solidFill>
                  <a:srgbClr val="333333"/>
                </a:solidFill>
                <a:sym typeface="Arial"/>
              </a:endParaRPr>
            </a:p>
          </p:txBody>
        </p:sp>
        <p:grpSp>
          <p:nvGrpSpPr>
            <p:cNvPr id="35" name="Group 68"/>
            <p:cNvGrpSpPr/>
            <p:nvPr/>
          </p:nvGrpSpPr>
          <p:grpSpPr>
            <a:xfrm>
              <a:off x="247432" y="5619749"/>
              <a:ext cx="8539808" cy="666712"/>
              <a:chOff x="323390" y="3752029"/>
              <a:chExt cx="8539809" cy="666712"/>
            </a:xfrm>
          </p:grpSpPr>
          <p:sp>
            <p:nvSpPr>
              <p:cNvPr id="36" name="Rectangle 97"/>
              <p:cNvSpPr/>
              <p:nvPr/>
            </p:nvSpPr>
            <p:spPr>
              <a:xfrm>
                <a:off x="1604571" y="3752029"/>
                <a:ext cx="7258628" cy="666712"/>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Bef>
                    <a:spcPts val="600"/>
                  </a:spcBef>
                  <a:spcAft>
                    <a:spcPts val="600"/>
                  </a:spcAft>
                  <a:buClr>
                    <a:srgbClr val="333333"/>
                  </a:buClr>
                  <a:buSzPct val="100000"/>
                </a:pPr>
                <a:r>
                  <a:rPr lang="en-CA" sz="1200" dirty="0">
                    <a:solidFill>
                      <a:srgbClr val="333333"/>
                    </a:solidFill>
                  </a:rPr>
                  <a:t>Does this mean I don’t need to worry about natural disasters? </a:t>
                </a:r>
                <a:r>
                  <a:rPr lang="en-CA" sz="1200" b="1" dirty="0">
                    <a:solidFill>
                      <a:srgbClr val="333333"/>
                    </a:solidFill>
                  </a:rPr>
                  <a:t>No.</a:t>
                </a:r>
                <a:r>
                  <a:rPr lang="en-CA" sz="1200" dirty="0">
                    <a:solidFill>
                      <a:srgbClr val="333333"/>
                    </a:solidFill>
                  </a:rPr>
                  <a:t> It means DR planning needs to focus on overall service continuity, not just major disasters. If you ignore the more common but less dramatic causes of service interruptions, you are diminishing the business value of a DRP.</a:t>
                </a:r>
              </a:p>
            </p:txBody>
          </p:sp>
          <p:pic>
            <p:nvPicPr>
              <p:cNvPr id="37" name="Picture 70"/>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323390" y="3752029"/>
                <a:ext cx="1577488" cy="666712"/>
              </a:xfrm>
              <a:prstGeom prst="rect">
                <a:avLst/>
              </a:prstGeom>
            </p:spPr>
          </p:pic>
        </p:grpSp>
      </p:grpSp>
      <p:grpSp>
        <p:nvGrpSpPr>
          <p:cNvPr id="33" name="Group 103">
            <a:extLst>
              <a:ext uri="{FF2B5EF4-FFF2-40B4-BE49-F238E27FC236}">
                <a16:creationId xmlns:a16="http://schemas.microsoft.com/office/drawing/2014/main" xmlns="" id="{A6A69B2B-C8A4-447A-A19B-3D7EAF34B9FB}"/>
              </a:ext>
            </a:extLst>
          </p:cNvPr>
          <p:cNvGrpSpPr/>
          <p:nvPr/>
        </p:nvGrpSpPr>
        <p:grpSpPr>
          <a:xfrm>
            <a:off x="-40192" y="5322536"/>
            <a:ext cx="8935167" cy="1444877"/>
            <a:chOff x="-40192" y="917704"/>
            <a:chExt cx="8935167" cy="1444877"/>
          </a:xfrm>
        </p:grpSpPr>
        <p:sp>
          <p:nvSpPr>
            <p:cNvPr id="2" name="Title 2"/>
            <p:cNvSpPr txBox="1">
              <a:spLocks/>
            </p:cNvSpPr>
            <p:nvPr/>
          </p:nvSpPr>
          <p:spPr>
            <a:xfrm>
              <a:off x="275355" y="1366167"/>
              <a:ext cx="8619620" cy="390528"/>
            </a:xfrm>
            <a:prstGeom prst="rect">
              <a:avLst/>
            </a:prstGeom>
            <a:solidFill>
              <a:schemeClr val="bg1">
                <a:lumMod val="95000"/>
              </a:schemeClr>
            </a:solidFill>
            <a:ln w="28575">
              <a:noFill/>
            </a:ln>
          </p:spPr>
          <p:txBody>
            <a:bodyPr/>
            <a:lst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r">
                <a:spcAft>
                  <a:spcPts val="1200"/>
                </a:spcAft>
              </a:pPr>
              <a:r>
                <a:rPr lang="en-US" sz="1800" i="1" dirty="0">
                  <a:solidFill>
                    <a:srgbClr val="C00000"/>
                  </a:solidFill>
                  <a:latin typeface="+mn-lt"/>
                </a:rPr>
                <a:t>DRPs are just for destructive events – fires, floods, and natural disasters.</a:t>
              </a:r>
            </a:p>
          </p:txBody>
        </p:sp>
        <p:pic>
          <p:nvPicPr>
            <p:cNvPr id="40" name="Picture 105"/>
            <p:cNvPicPr>
              <a:picLocks noChangeAspect="1"/>
            </p:cNvPicPr>
            <p:nvPr/>
          </p:nvPicPr>
          <p:blipFill>
            <a:blip r:embed="rId26"/>
            <a:stretch>
              <a:fillRect/>
            </a:stretch>
          </p:blipFill>
          <p:spPr>
            <a:xfrm>
              <a:off x="-40192" y="917704"/>
              <a:ext cx="1633870" cy="1444877"/>
            </a:xfrm>
            <a:prstGeom prst="rect">
              <a:avLst/>
            </a:prstGeom>
          </p:spPr>
        </p:pic>
      </p:grpSp>
    </p:spTree>
    <p:extLst>
      <p:ext uri="{BB962C8B-B14F-4D97-AF65-F5344CB8AC3E}">
        <p14:creationId xmlns:p14="http://schemas.microsoft.com/office/powerpoint/2010/main" val="31831667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J3mDnn7KEGrOvGY0shL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faF6zyZ5keLJGZcXQjKZ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KznESQbmU.7t9W9V3YGr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2Zbv5VV4kCu3KH1okiPr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ZuKZEqdZUqsMhYp5nORJ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AYEJFe25UGo_c4eP6UOK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Ut2pvX8S0Kef09yAbO0_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uJ99yNDX06IGVLX_mB5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0uYW34EI0C.6RrTOXX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ULNz3Ip9EaSTt7MDbic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ilrLz1ls06BAgMErnYsj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RvNugJisM0WR1CM5Nh30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8qsh47l8BUyMzuSZljWYs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PBm60AYnky9aKdotS4VJ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EneXDyzzkWYvh0JSh0QZ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08E45WoasE6DqfFmJCi44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Cm5dkiB90K.vMOuVKlu0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K7EBqsk5EO5CY2QUYlZ4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FulJhInbk.stK4hkkGrj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8zWXA1Ij3US6O1KiMjDDM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SNWvTE9q0uJKTFZU1zP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yhpeAZaR02PjK8WCyzU2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5qog_dC7GUyRV.iVCgK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HIlw4hkk0qR5OkPFHsWv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gm1O4LQtEyyg4Ry7Z9D3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AYEJFe25UGo_c4eP6UO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wJSyLht70SoC8Wm.aQt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QiRYIjOTkGCmvXk0Rzu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0XOoPRBxkm51q3GTX9Av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HonyDTZskiSvKaUq5xL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1XhLV4CBmEmRfRApfs3w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h8vfXo.80ykSNLl7MoE0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T4INmrUF0mddn7g0P0p5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WjYV_cm806AFp60guarig"/>
</p:tagLst>
</file>

<file path=ppt/theme/theme1.xml><?xml version="1.0" encoding="utf-8"?>
<a:theme xmlns:a="http://schemas.openxmlformats.org/drawingml/2006/main" name="Theme1">
  <a:themeElements>
    <a:clrScheme name="Magnum">
      <a:dk1>
        <a:srgbClr val="333333"/>
      </a:dk1>
      <a:lt1>
        <a:srgbClr val="FFFFFF"/>
      </a:lt1>
      <a:dk2>
        <a:srgbClr val="333333"/>
      </a:dk2>
      <a:lt2>
        <a:srgbClr val="FFFFFF"/>
      </a:lt2>
      <a:accent1>
        <a:srgbClr val="29475F"/>
      </a:accent1>
      <a:accent2>
        <a:srgbClr val="A24130"/>
      </a:accent2>
      <a:accent3>
        <a:srgbClr val="7F919F"/>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none" rtlCol="0">
        <a:spAutoFit/>
      </a:bodyPr>
      <a:lstStyle>
        <a:defPPr>
          <a:defRPr sz="1200"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630</Words>
  <Application>Microsoft Office PowerPoint</Application>
  <PresentationFormat>On-screen Show (4:3)</PresentationFormat>
  <Paragraphs>333</Paragraphs>
  <Slides>20</Slides>
  <Notes>7</Notes>
  <HiddenSlides>0</HiddenSlides>
  <MMClips>0</MMClips>
  <ScaleCrop>false</ScaleCrop>
  <HeadingPairs>
    <vt:vector size="10"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0</vt:i4>
      </vt:variant>
      <vt:variant>
        <vt:lpstr>Custom Shows</vt:lpstr>
      </vt:variant>
      <vt:variant>
        <vt:i4>1</vt:i4>
      </vt:variant>
    </vt:vector>
  </HeadingPairs>
  <TitlesOfParts>
    <vt:vector size="29" baseType="lpstr">
      <vt:lpstr>Arial</vt:lpstr>
      <vt:lpstr>Calibri</vt:lpstr>
      <vt:lpstr>Georgia</vt:lpstr>
      <vt:lpstr>Open Sans</vt:lpstr>
      <vt:lpstr>Times New Roman</vt:lpstr>
      <vt:lpstr>Wingdings</vt:lpstr>
      <vt:lpstr>Theme1</vt:lpstr>
      <vt:lpstr>Chart</vt:lpstr>
      <vt:lpstr>PowerPoint Presentation</vt:lpstr>
      <vt:lpstr>PowerPoint Presentation</vt:lpstr>
      <vt:lpstr>Is this research for you?</vt:lpstr>
      <vt:lpstr>Executive summary</vt:lpstr>
      <vt:lpstr>An effective DRP is critical to reducing the cost of downtime</vt:lpstr>
      <vt:lpstr>An effective DRP also sets clear recovery objectives that align with system criticality to optimize spend</vt:lpstr>
      <vt:lpstr>Take a practical approach that creates a more concise and actionable DRP</vt:lpstr>
      <vt:lpstr>DR must be integrated with day-to-day incident management to ensure service continuity</vt:lpstr>
      <vt:lpstr>The most common threats to service continuity are hardware and software failures, network outages, and power outages</vt:lpstr>
      <vt:lpstr>DR isn’t about identifying risks; it’s about ensuring service continuity</vt:lpstr>
      <vt:lpstr>You can’t outsource accountability and you can’t assume your vendor’s DR capabilities meet your needs</vt:lpstr>
      <vt:lpstr>Choose flowcharts over process guides, checklists over procedures, and diagrams over descriptions</vt:lpstr>
      <vt:lpstr>A DRP is part of an overall business continuity plan</vt:lpstr>
      <vt:lpstr>Take a practical but structured approach to creating a concise and effective DRP</vt:lpstr>
      <vt:lpstr>Info-Tech offers various levels of support to best suit your needs</vt:lpstr>
      <vt:lpstr>Info-Tech advisory services deliver measurable value</vt:lpstr>
      <vt:lpstr>Guided implementation overview</vt:lpstr>
      <vt:lpstr>Workshop overview</vt:lpstr>
      <vt:lpstr>PowerPoint Presentation</vt:lpstr>
      <vt:lpstr>Use these icons to help direct you as you navigate this research </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1-08T17:49:19Z</dcterms:created>
  <dcterms:modified xsi:type="dcterms:W3CDTF">2019-01-08T17:52:58Z</dcterms:modified>
</cp:coreProperties>
</file>